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charts/chart11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5" r:id="rId5"/>
  </p:sldMasterIdLst>
  <p:notesMasterIdLst>
    <p:notesMasterId r:id="rId32"/>
  </p:notesMasterIdLst>
  <p:handoutMasterIdLst>
    <p:handoutMasterId r:id="rId33"/>
  </p:handoutMasterIdLst>
  <p:sldIdLst>
    <p:sldId id="302" r:id="rId6"/>
    <p:sldId id="276" r:id="rId7"/>
    <p:sldId id="278" r:id="rId8"/>
    <p:sldId id="279" r:id="rId9"/>
    <p:sldId id="280" r:id="rId10"/>
    <p:sldId id="282" r:id="rId11"/>
    <p:sldId id="304" r:id="rId12"/>
    <p:sldId id="306" r:id="rId13"/>
    <p:sldId id="284" r:id="rId14"/>
    <p:sldId id="307" r:id="rId15"/>
    <p:sldId id="303" r:id="rId16"/>
    <p:sldId id="270" r:id="rId17"/>
    <p:sldId id="271" r:id="rId18"/>
    <p:sldId id="293" r:id="rId19"/>
    <p:sldId id="272" r:id="rId20"/>
    <p:sldId id="309" r:id="rId21"/>
    <p:sldId id="274" r:id="rId22"/>
    <p:sldId id="310" r:id="rId23"/>
    <p:sldId id="294" r:id="rId24"/>
    <p:sldId id="308" r:id="rId25"/>
    <p:sldId id="291" r:id="rId26"/>
    <p:sldId id="290" r:id="rId27"/>
    <p:sldId id="300" r:id="rId28"/>
    <p:sldId id="281" r:id="rId29"/>
    <p:sldId id="298" r:id="rId30"/>
    <p:sldId id="283" r:id="rId31"/>
  </p:sldIdLst>
  <p:sldSz cx="9144000" cy="6858000" type="screen4x3"/>
  <p:notesSz cx="6797675" cy="9928225"/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865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A900"/>
    <a:srgbClr val="080808"/>
    <a:srgbClr val="000000"/>
    <a:srgbClr val="AC145A"/>
    <a:srgbClr val="004E42"/>
    <a:srgbClr val="633231"/>
    <a:srgbClr val="201747"/>
    <a:srgbClr val="3C10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85" autoAdjust="0"/>
    <p:restoredTop sz="85080" autoAdjust="0"/>
  </p:normalViewPr>
  <p:slideViewPr>
    <p:cSldViewPr snapToGrid="0" showGuides="1">
      <p:cViewPr varScale="1">
        <p:scale>
          <a:sx n="60" d="100"/>
          <a:sy n="60" d="100"/>
        </p:scale>
        <p:origin x="1748" y="36"/>
      </p:cViewPr>
      <p:guideLst>
        <p:guide orient="horz" pos="865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-3592" y="-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9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/>
          <a:lstStyle/>
          <a:p>
            <a:pPr>
              <a:defRPr sz="1400" b="0">
                <a:latin typeface="Baskerville"/>
              </a:defRPr>
            </a:pPr>
            <a:r>
              <a:rPr lang="en-US" sz="1400" b="0" dirty="0" smtClean="0">
                <a:latin typeface="Baskerville"/>
              </a:rPr>
              <a:t>Structure of </a:t>
            </a:r>
            <a:r>
              <a:rPr lang="en-US" sz="1400" b="0" dirty="0" err="1" smtClean="0">
                <a:latin typeface="Baskerville"/>
              </a:rPr>
              <a:t>Hicure</a:t>
            </a:r>
            <a:endParaRPr lang="en-US" sz="1400" b="0" dirty="0">
              <a:latin typeface="Baskerville"/>
            </a:endParaRP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0.10551543339721715"/>
          <c:y val="3.8220662922264614E-2"/>
          <c:w val="0.81347067381853888"/>
          <c:h val="0.8512424004245252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free AA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invertIfNegative val="0"/>
          <c:cat>
            <c:numRef>
              <c:f>Sheet1!$A$4:$A$49</c:f>
              <c:numCache>
                <c:formatCode>General</c:formatCode>
                <c:ptCount val="46"/>
                <c:pt idx="0">
                  <c:v>0</c:v>
                </c:pt>
                <c:pt idx="1">
                  <c:v>100</c:v>
                </c:pt>
                <c:pt idx="2">
                  <c:v>200</c:v>
                </c:pt>
                <c:pt idx="3">
                  <c:v>300</c:v>
                </c:pt>
                <c:pt idx="4">
                  <c:v>400</c:v>
                </c:pt>
                <c:pt idx="5">
                  <c:v>500</c:v>
                </c:pt>
                <c:pt idx="6">
                  <c:v>600</c:v>
                </c:pt>
                <c:pt idx="7">
                  <c:v>700</c:v>
                </c:pt>
                <c:pt idx="8">
                  <c:v>800</c:v>
                </c:pt>
                <c:pt idx="9">
                  <c:v>900</c:v>
                </c:pt>
                <c:pt idx="10">
                  <c:v>1000</c:v>
                </c:pt>
                <c:pt idx="11">
                  <c:v>1100</c:v>
                </c:pt>
                <c:pt idx="12">
                  <c:v>1200</c:v>
                </c:pt>
                <c:pt idx="13">
                  <c:v>1300</c:v>
                </c:pt>
                <c:pt idx="14">
                  <c:v>1400</c:v>
                </c:pt>
                <c:pt idx="15">
                  <c:v>1500</c:v>
                </c:pt>
                <c:pt idx="16">
                  <c:v>1600</c:v>
                </c:pt>
                <c:pt idx="17">
                  <c:v>1700</c:v>
                </c:pt>
                <c:pt idx="18">
                  <c:v>1800</c:v>
                </c:pt>
                <c:pt idx="19">
                  <c:v>1900</c:v>
                </c:pt>
                <c:pt idx="20">
                  <c:v>2000</c:v>
                </c:pt>
                <c:pt idx="21">
                  <c:v>2100</c:v>
                </c:pt>
                <c:pt idx="22">
                  <c:v>2200</c:v>
                </c:pt>
                <c:pt idx="23">
                  <c:v>2300</c:v>
                </c:pt>
                <c:pt idx="24">
                  <c:v>2400</c:v>
                </c:pt>
                <c:pt idx="25">
                  <c:v>2500</c:v>
                </c:pt>
                <c:pt idx="26">
                  <c:v>2600</c:v>
                </c:pt>
                <c:pt idx="27">
                  <c:v>2700</c:v>
                </c:pt>
                <c:pt idx="28">
                  <c:v>2800</c:v>
                </c:pt>
                <c:pt idx="29">
                  <c:v>2900</c:v>
                </c:pt>
                <c:pt idx="30">
                  <c:v>3000</c:v>
                </c:pt>
                <c:pt idx="31">
                  <c:v>3100</c:v>
                </c:pt>
                <c:pt idx="32">
                  <c:v>3200</c:v>
                </c:pt>
                <c:pt idx="33">
                  <c:v>3300</c:v>
                </c:pt>
                <c:pt idx="34">
                  <c:v>3400</c:v>
                </c:pt>
                <c:pt idx="35">
                  <c:v>3500</c:v>
                </c:pt>
                <c:pt idx="36">
                  <c:v>3600</c:v>
                </c:pt>
                <c:pt idx="37">
                  <c:v>3700</c:v>
                </c:pt>
                <c:pt idx="38">
                  <c:v>3800</c:v>
                </c:pt>
                <c:pt idx="39">
                  <c:v>3900</c:v>
                </c:pt>
                <c:pt idx="40">
                  <c:v>4000</c:v>
                </c:pt>
                <c:pt idx="41">
                  <c:v>4100</c:v>
                </c:pt>
                <c:pt idx="42">
                  <c:v>4200</c:v>
                </c:pt>
                <c:pt idx="43">
                  <c:v>4300</c:v>
                </c:pt>
                <c:pt idx="44">
                  <c:v>4400</c:v>
                </c:pt>
                <c:pt idx="45">
                  <c:v>4500</c:v>
                </c:pt>
              </c:numCache>
            </c:numRef>
          </c:cat>
          <c:val>
            <c:numRef>
              <c:f>Sheet1!$B$4:$B$49</c:f>
              <c:numCache>
                <c:formatCode>General</c:formatCode>
                <c:ptCount val="46"/>
                <c:pt idx="0">
                  <c:v>1.5269999999999999</c:v>
                </c:pt>
                <c:pt idx="1">
                  <c:v>2.8069999999999999</c:v>
                </c:pt>
                <c:pt idx="2">
                  <c:v>3.7629999999999999</c:v>
                </c:pt>
                <c:pt idx="3">
                  <c:v>4.2640000000000002</c:v>
                </c:pt>
                <c:pt idx="4">
                  <c:v>5.1120000000000001</c:v>
                </c:pt>
                <c:pt idx="5">
                  <c:v>6.1020000000000003</c:v>
                </c:pt>
                <c:pt idx="6">
                  <c:v>6.9130000000000003</c:v>
                </c:pt>
              </c:numCache>
            </c:numRef>
          </c:val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short chain peptides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numRef>
              <c:f>Sheet1!$A$4:$A$49</c:f>
              <c:numCache>
                <c:formatCode>General</c:formatCode>
                <c:ptCount val="46"/>
                <c:pt idx="0">
                  <c:v>0</c:v>
                </c:pt>
                <c:pt idx="1">
                  <c:v>100</c:v>
                </c:pt>
                <c:pt idx="2">
                  <c:v>200</c:v>
                </c:pt>
                <c:pt idx="3">
                  <c:v>300</c:v>
                </c:pt>
                <c:pt idx="4">
                  <c:v>400</c:v>
                </c:pt>
                <c:pt idx="5">
                  <c:v>500</c:v>
                </c:pt>
                <c:pt idx="6">
                  <c:v>600</c:v>
                </c:pt>
                <c:pt idx="7">
                  <c:v>700</c:v>
                </c:pt>
                <c:pt idx="8">
                  <c:v>800</c:v>
                </c:pt>
                <c:pt idx="9">
                  <c:v>900</c:v>
                </c:pt>
                <c:pt idx="10">
                  <c:v>1000</c:v>
                </c:pt>
                <c:pt idx="11">
                  <c:v>1100</c:v>
                </c:pt>
                <c:pt idx="12">
                  <c:v>1200</c:v>
                </c:pt>
                <c:pt idx="13">
                  <c:v>1300</c:v>
                </c:pt>
                <c:pt idx="14">
                  <c:v>1400</c:v>
                </c:pt>
                <c:pt idx="15">
                  <c:v>1500</c:v>
                </c:pt>
                <c:pt idx="16">
                  <c:v>1600</c:v>
                </c:pt>
                <c:pt idx="17">
                  <c:v>1700</c:v>
                </c:pt>
                <c:pt idx="18">
                  <c:v>1800</c:v>
                </c:pt>
                <c:pt idx="19">
                  <c:v>1900</c:v>
                </c:pt>
                <c:pt idx="20">
                  <c:v>2000</c:v>
                </c:pt>
                <c:pt idx="21">
                  <c:v>2100</c:v>
                </c:pt>
                <c:pt idx="22">
                  <c:v>2200</c:v>
                </c:pt>
                <c:pt idx="23">
                  <c:v>2300</c:v>
                </c:pt>
                <c:pt idx="24">
                  <c:v>2400</c:v>
                </c:pt>
                <c:pt idx="25">
                  <c:v>2500</c:v>
                </c:pt>
                <c:pt idx="26">
                  <c:v>2600</c:v>
                </c:pt>
                <c:pt idx="27">
                  <c:v>2700</c:v>
                </c:pt>
                <c:pt idx="28">
                  <c:v>2800</c:v>
                </c:pt>
                <c:pt idx="29">
                  <c:v>2900</c:v>
                </c:pt>
                <c:pt idx="30">
                  <c:v>3000</c:v>
                </c:pt>
                <c:pt idx="31">
                  <c:v>3100</c:v>
                </c:pt>
                <c:pt idx="32">
                  <c:v>3200</c:v>
                </c:pt>
                <c:pt idx="33">
                  <c:v>3300</c:v>
                </c:pt>
                <c:pt idx="34">
                  <c:v>3400</c:v>
                </c:pt>
                <c:pt idx="35">
                  <c:v>3500</c:v>
                </c:pt>
                <c:pt idx="36">
                  <c:v>3600</c:v>
                </c:pt>
                <c:pt idx="37">
                  <c:v>3700</c:v>
                </c:pt>
                <c:pt idx="38">
                  <c:v>3800</c:v>
                </c:pt>
                <c:pt idx="39">
                  <c:v>3900</c:v>
                </c:pt>
                <c:pt idx="40">
                  <c:v>4000</c:v>
                </c:pt>
                <c:pt idx="41">
                  <c:v>4100</c:v>
                </c:pt>
                <c:pt idx="42">
                  <c:v>4200</c:v>
                </c:pt>
                <c:pt idx="43">
                  <c:v>4300</c:v>
                </c:pt>
                <c:pt idx="44">
                  <c:v>4400</c:v>
                </c:pt>
                <c:pt idx="45">
                  <c:v>4500</c:v>
                </c:pt>
              </c:numCache>
            </c:numRef>
          </c:cat>
          <c:val>
            <c:numRef>
              <c:f>Sheet1!$C$4:$C$49</c:f>
              <c:numCache>
                <c:formatCode>General</c:formatCode>
                <c:ptCount val="46"/>
                <c:pt idx="7">
                  <c:v>7.5830000000000002</c:v>
                </c:pt>
                <c:pt idx="8">
                  <c:v>8.1349999999999998</c:v>
                </c:pt>
                <c:pt idx="9">
                  <c:v>7.3929999999999998</c:v>
                </c:pt>
                <c:pt idx="10">
                  <c:v>6.5910000000000002</c:v>
                </c:pt>
                <c:pt idx="11">
                  <c:v>6.0709999999999997</c:v>
                </c:pt>
                <c:pt idx="12">
                  <c:v>5.5</c:v>
                </c:pt>
                <c:pt idx="13">
                  <c:v>4.6130000000000004</c:v>
                </c:pt>
                <c:pt idx="14">
                  <c:v>3.6970000000000001</c:v>
                </c:pt>
                <c:pt idx="15">
                  <c:v>3.0249999999999999</c:v>
                </c:pt>
                <c:pt idx="16">
                  <c:v>2.5019999999999998</c:v>
                </c:pt>
                <c:pt idx="17">
                  <c:v>2.097</c:v>
                </c:pt>
                <c:pt idx="18">
                  <c:v>1.786</c:v>
                </c:pt>
                <c:pt idx="19">
                  <c:v>1.504</c:v>
                </c:pt>
                <c:pt idx="20">
                  <c:v>1.2649999999999999</c:v>
                </c:pt>
              </c:numCache>
            </c:numRef>
          </c:val>
        </c:ser>
        <c:ser>
          <c:idx val="2"/>
          <c:order val="2"/>
          <c:tx>
            <c:strRef>
              <c:f>Sheet1!$D$3</c:f>
              <c:strCache>
                <c:ptCount val="1"/>
                <c:pt idx="0">
                  <c:v>long chain peptides</c:v>
                </c:pt>
              </c:strCache>
            </c:strRef>
          </c:tx>
          <c:invertIfNegative val="0"/>
          <c:cat>
            <c:numRef>
              <c:f>Sheet1!$A$4:$A$49</c:f>
              <c:numCache>
                <c:formatCode>General</c:formatCode>
                <c:ptCount val="46"/>
                <c:pt idx="0">
                  <c:v>0</c:v>
                </c:pt>
                <c:pt idx="1">
                  <c:v>100</c:v>
                </c:pt>
                <c:pt idx="2">
                  <c:v>200</c:v>
                </c:pt>
                <c:pt idx="3">
                  <c:v>300</c:v>
                </c:pt>
                <c:pt idx="4">
                  <c:v>400</c:v>
                </c:pt>
                <c:pt idx="5">
                  <c:v>500</c:v>
                </c:pt>
                <c:pt idx="6">
                  <c:v>600</c:v>
                </c:pt>
                <c:pt idx="7">
                  <c:v>700</c:v>
                </c:pt>
                <c:pt idx="8">
                  <c:v>800</c:v>
                </c:pt>
                <c:pt idx="9">
                  <c:v>900</c:v>
                </c:pt>
                <c:pt idx="10">
                  <c:v>1000</c:v>
                </c:pt>
                <c:pt idx="11">
                  <c:v>1100</c:v>
                </c:pt>
                <c:pt idx="12">
                  <c:v>1200</c:v>
                </c:pt>
                <c:pt idx="13">
                  <c:v>1300</c:v>
                </c:pt>
                <c:pt idx="14">
                  <c:v>1400</c:v>
                </c:pt>
                <c:pt idx="15">
                  <c:v>1500</c:v>
                </c:pt>
                <c:pt idx="16">
                  <c:v>1600</c:v>
                </c:pt>
                <c:pt idx="17">
                  <c:v>1700</c:v>
                </c:pt>
                <c:pt idx="18">
                  <c:v>1800</c:v>
                </c:pt>
                <c:pt idx="19">
                  <c:v>1900</c:v>
                </c:pt>
                <c:pt idx="20">
                  <c:v>2000</c:v>
                </c:pt>
                <c:pt idx="21">
                  <c:v>2100</c:v>
                </c:pt>
                <c:pt idx="22">
                  <c:v>2200</c:v>
                </c:pt>
                <c:pt idx="23">
                  <c:v>2300</c:v>
                </c:pt>
                <c:pt idx="24">
                  <c:v>2400</c:v>
                </c:pt>
                <c:pt idx="25">
                  <c:v>2500</c:v>
                </c:pt>
                <c:pt idx="26">
                  <c:v>2600</c:v>
                </c:pt>
                <c:pt idx="27">
                  <c:v>2700</c:v>
                </c:pt>
                <c:pt idx="28">
                  <c:v>2800</c:v>
                </c:pt>
                <c:pt idx="29">
                  <c:v>2900</c:v>
                </c:pt>
                <c:pt idx="30">
                  <c:v>3000</c:v>
                </c:pt>
                <c:pt idx="31">
                  <c:v>3100</c:v>
                </c:pt>
                <c:pt idx="32">
                  <c:v>3200</c:v>
                </c:pt>
                <c:pt idx="33">
                  <c:v>3300</c:v>
                </c:pt>
                <c:pt idx="34">
                  <c:v>3400</c:v>
                </c:pt>
                <c:pt idx="35">
                  <c:v>3500</c:v>
                </c:pt>
                <c:pt idx="36">
                  <c:v>3600</c:v>
                </c:pt>
                <c:pt idx="37">
                  <c:v>3700</c:v>
                </c:pt>
                <c:pt idx="38">
                  <c:v>3800</c:v>
                </c:pt>
                <c:pt idx="39">
                  <c:v>3900</c:v>
                </c:pt>
                <c:pt idx="40">
                  <c:v>4000</c:v>
                </c:pt>
                <c:pt idx="41">
                  <c:v>4100</c:v>
                </c:pt>
                <c:pt idx="42">
                  <c:v>4200</c:v>
                </c:pt>
                <c:pt idx="43">
                  <c:v>4300</c:v>
                </c:pt>
                <c:pt idx="44">
                  <c:v>4400</c:v>
                </c:pt>
                <c:pt idx="45">
                  <c:v>4500</c:v>
                </c:pt>
              </c:numCache>
            </c:numRef>
          </c:cat>
          <c:val>
            <c:numRef>
              <c:f>Sheet1!$D$4:$D$49</c:f>
              <c:numCache>
                <c:formatCode>General</c:formatCode>
                <c:ptCount val="46"/>
                <c:pt idx="21">
                  <c:v>1.0820000000000001</c:v>
                </c:pt>
                <c:pt idx="22">
                  <c:v>0.92200000000000004</c:v>
                </c:pt>
                <c:pt idx="23">
                  <c:v>0.78100000000000003</c:v>
                </c:pt>
                <c:pt idx="24">
                  <c:v>0.67800000000000005</c:v>
                </c:pt>
                <c:pt idx="25">
                  <c:v>0.56999999999999995</c:v>
                </c:pt>
                <c:pt idx="26">
                  <c:v>0.49099999999999999</c:v>
                </c:pt>
                <c:pt idx="27">
                  <c:v>0.41299999999999998</c:v>
                </c:pt>
                <c:pt idx="28">
                  <c:v>0.36199999999999999</c:v>
                </c:pt>
                <c:pt idx="29">
                  <c:v>0.30399999999999999</c:v>
                </c:pt>
                <c:pt idx="30">
                  <c:v>0.27400000000000002</c:v>
                </c:pt>
                <c:pt idx="31">
                  <c:v>0.22700000000000001</c:v>
                </c:pt>
                <c:pt idx="32">
                  <c:v>0.19</c:v>
                </c:pt>
                <c:pt idx="33">
                  <c:v>0.17599999999999999</c:v>
                </c:pt>
                <c:pt idx="34">
                  <c:v>0.14799999999999999</c:v>
                </c:pt>
                <c:pt idx="35">
                  <c:v>0.129</c:v>
                </c:pt>
                <c:pt idx="36">
                  <c:v>0.12</c:v>
                </c:pt>
                <c:pt idx="37">
                  <c:v>9.5000000000000001E-2</c:v>
                </c:pt>
                <c:pt idx="38">
                  <c:v>8.7999999999999995E-2</c:v>
                </c:pt>
                <c:pt idx="39">
                  <c:v>7.4999999999999997E-2</c:v>
                </c:pt>
                <c:pt idx="40">
                  <c:v>7.0000000000000007E-2</c:v>
                </c:pt>
                <c:pt idx="41">
                  <c:v>8.8999999999999996E-2</c:v>
                </c:pt>
                <c:pt idx="42">
                  <c:v>2.4E-2</c:v>
                </c:pt>
                <c:pt idx="43">
                  <c:v>3.7999999999999999E-2</c:v>
                </c:pt>
                <c:pt idx="44">
                  <c:v>4.7E-2</c:v>
                </c:pt>
                <c:pt idx="45">
                  <c:v>3.500000000000000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51064936"/>
        <c:axId val="251059840"/>
      </c:barChart>
      <c:catAx>
        <c:axId val="251064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60000"/>
          <a:lstStyle/>
          <a:p>
            <a:pPr>
              <a:defRPr/>
            </a:pPr>
            <a:endParaRPr lang="da-DK"/>
          </a:p>
        </c:txPr>
        <c:crossAx val="251059840"/>
        <c:crosses val="autoZero"/>
        <c:auto val="1"/>
        <c:lblAlgn val="ctr"/>
        <c:lblOffset val="100"/>
        <c:noMultiLvlLbl val="0"/>
      </c:catAx>
      <c:valAx>
        <c:axId val="251059840"/>
        <c:scaling>
          <c:orientation val="minMax"/>
          <c:max val="9"/>
          <c:min val="0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050" b="0">
                    <a:latin typeface="Baskerville"/>
                  </a:defRPr>
                </a:pPr>
                <a:r>
                  <a:rPr lang="en-US" sz="1050" b="0" dirty="0" smtClean="0">
                    <a:latin typeface="Baskerville"/>
                  </a:rPr>
                  <a:t>Content</a:t>
                </a:r>
                <a:endParaRPr lang="en-US" sz="1050" b="0" dirty="0">
                  <a:latin typeface="Baskerville"/>
                </a:endParaRP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da-DK"/>
          </a:p>
        </c:txPr>
        <c:crossAx val="251064936"/>
        <c:crossesAt val="1"/>
        <c:crossBetween val="midCat"/>
        <c:majorUnit val="2"/>
      </c:valAx>
    </c:plotArea>
    <c:legend>
      <c:legendPos val="r"/>
      <c:layout>
        <c:manualLayout>
          <c:xMode val="edge"/>
          <c:yMode val="edge"/>
          <c:x val="0.59751924305458171"/>
          <c:y val="0.19089349278224985"/>
          <c:w val="0.34233062769467443"/>
          <c:h val="0.25115157480314959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AT-C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Meltatox 250</c:v>
                </c:pt>
                <c:pt idx="1">
                  <c:v>Solvit 75</c:v>
                </c:pt>
                <c:pt idx="2">
                  <c:v>Solvit 75 + Hicure 125</c:v>
                </c:pt>
                <c:pt idx="3">
                  <c:v>Hicure 125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2</c:v>
                </c:pt>
                <c:pt idx="1">
                  <c:v>84</c:v>
                </c:pt>
                <c:pt idx="2">
                  <c:v>97</c:v>
                </c:pt>
                <c:pt idx="3">
                  <c:v>2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7DAT-D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Meltatox 250</c:v>
                </c:pt>
                <c:pt idx="1">
                  <c:v>Solvit 75</c:v>
                </c:pt>
                <c:pt idx="2">
                  <c:v>Solvit 75 + Hicure 125</c:v>
                </c:pt>
                <c:pt idx="3">
                  <c:v>Hicure 125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72</c:v>
                </c:pt>
                <c:pt idx="1">
                  <c:v>79</c:v>
                </c:pt>
                <c:pt idx="2">
                  <c:v>93</c:v>
                </c:pt>
                <c:pt idx="3">
                  <c:v>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2316864"/>
        <c:axId val="372322744"/>
      </c:barChart>
      <c:catAx>
        <c:axId val="3723168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72322744"/>
        <c:crosses val="autoZero"/>
        <c:auto val="1"/>
        <c:lblAlgn val="ctr"/>
        <c:lblOffset val="100"/>
        <c:noMultiLvlLbl val="0"/>
      </c:catAx>
      <c:valAx>
        <c:axId val="372322744"/>
        <c:scaling>
          <c:orientation val="minMax"/>
          <c:max val="10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800"/>
                </a:pPr>
                <a:r>
                  <a:rPr lang="en-US" sz="1800" dirty="0"/>
                  <a:t>% </a:t>
                </a:r>
                <a:r>
                  <a:rPr lang="en-US" sz="1800" dirty="0" err="1"/>
                  <a:t>bestrijding</a:t>
                </a:r>
                <a:endParaRPr lang="en-US" sz="1800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372316864"/>
        <c:crosses val="autoZero"/>
        <c:crossBetween val="between"/>
        <c:majorUnit val="20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600"/>
      </a:pPr>
      <a:endParaRPr lang="da-DK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err="1" smtClean="0"/>
              <a:t>Gemiddelde</a:t>
            </a:r>
            <a:r>
              <a:rPr lang="en-US" dirty="0" smtClean="0"/>
              <a:t> </a:t>
            </a:r>
            <a:r>
              <a:rPr lang="en-US" dirty="0" err="1"/>
              <a:t>houdbaarheid</a:t>
            </a:r>
            <a:r>
              <a:rPr lang="en-US" dirty="0"/>
              <a:t> in </a:t>
            </a:r>
            <a:r>
              <a:rPr lang="en-US" dirty="0" err="1"/>
              <a:t>dagen</a:t>
            </a:r>
            <a:endParaRPr lang="en-US" dirty="0"/>
          </a:p>
        </c:rich>
      </c:tx>
      <c:layout/>
      <c:overlay val="0"/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emiddelde houdbaarheid in dagen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Onbehandeld</c:v>
                </c:pt>
                <c:pt idx="1">
                  <c:v>Hicure 0,125%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.8</c:v>
                </c:pt>
                <c:pt idx="1">
                  <c:v>11.7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4197296"/>
        <c:axId val="374202784"/>
      </c:barChart>
      <c:catAx>
        <c:axId val="37419729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374202784"/>
        <c:crosses val="autoZero"/>
        <c:auto val="1"/>
        <c:lblAlgn val="ctr"/>
        <c:lblOffset val="100"/>
        <c:noMultiLvlLbl val="0"/>
      </c:catAx>
      <c:valAx>
        <c:axId val="374202784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374197296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  <a:ln>
      <a:solidFill>
        <a:schemeClr val="tx1"/>
      </a:solidFill>
    </a:ln>
  </c:spPr>
  <c:txPr>
    <a:bodyPr/>
    <a:lstStyle/>
    <a:p>
      <a:pPr>
        <a:defRPr sz="1800"/>
      </a:pPr>
      <a:endParaRPr lang="da-DK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0">
                <a:latin typeface="Baskerville"/>
              </a:defRPr>
            </a:pPr>
            <a:r>
              <a:rPr lang="en-US" sz="1400" b="0" dirty="0" err="1" smtClean="0">
                <a:latin typeface="Baskerville"/>
              </a:rPr>
              <a:t>Hicure</a:t>
            </a:r>
            <a:r>
              <a:rPr lang="en-US" sz="1400" b="0" dirty="0" smtClean="0">
                <a:latin typeface="Baskerville"/>
              </a:rPr>
              <a:t> vs competition</a:t>
            </a:r>
            <a:endParaRPr lang="en-US" sz="1400" b="0" dirty="0">
              <a:latin typeface="Baskerville"/>
            </a:endParaRPr>
          </a:p>
        </c:rich>
      </c:tx>
      <c:layout>
        <c:manualLayout>
          <c:xMode val="edge"/>
          <c:yMode val="edge"/>
          <c:x val="0.33610595771990648"/>
          <c:y val="0.11063222103911241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2050489144032661"/>
          <c:y val="9.3103257030009795E-2"/>
          <c:w val="0.77421581595583899"/>
          <c:h val="0.71390777482752965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confronto LMW e L'!$C$25</c:f>
              <c:strCache>
                <c:ptCount val="1"/>
                <c:pt idx="0">
                  <c:v>HICURE</c:v>
                </c:pt>
              </c:strCache>
            </c:strRef>
          </c:tx>
          <c:spPr>
            <a:ln w="19050">
              <a:solidFill>
                <a:srgbClr val="F2A900"/>
              </a:solidFill>
              <a:prstDash val="solid"/>
            </a:ln>
          </c:spPr>
          <c:marker>
            <c:symbol val="diamond"/>
            <c:size val="8"/>
            <c:spPr>
              <a:solidFill>
                <a:srgbClr val="F2A900"/>
              </a:solidFill>
              <a:ln w="19050">
                <a:solidFill>
                  <a:srgbClr val="F2A900"/>
                </a:solidFill>
                <a:prstDash val="solid"/>
              </a:ln>
            </c:spPr>
          </c:marker>
          <c:xVal>
            <c:numRef>
              <c:f>'confronto LMW e L'!$B$26:$B$95</c:f>
              <c:numCache>
                <c:formatCode>General</c:formatCode>
                <c:ptCount val="70"/>
                <c:pt idx="0">
                  <c:v>0</c:v>
                </c:pt>
                <c:pt idx="1">
                  <c:v>50</c:v>
                </c:pt>
                <c:pt idx="2">
                  <c:v>100</c:v>
                </c:pt>
                <c:pt idx="3">
                  <c:v>200</c:v>
                </c:pt>
                <c:pt idx="4">
                  <c:v>250</c:v>
                </c:pt>
                <c:pt idx="5">
                  <c:v>300</c:v>
                </c:pt>
                <c:pt idx="6">
                  <c:v>400</c:v>
                </c:pt>
                <c:pt idx="7">
                  <c:v>500</c:v>
                </c:pt>
                <c:pt idx="8">
                  <c:v>600</c:v>
                </c:pt>
                <c:pt idx="9">
                  <c:v>700</c:v>
                </c:pt>
                <c:pt idx="10">
                  <c:v>750</c:v>
                </c:pt>
                <c:pt idx="11">
                  <c:v>800</c:v>
                </c:pt>
                <c:pt idx="12">
                  <c:v>900</c:v>
                </c:pt>
                <c:pt idx="13">
                  <c:v>1000</c:v>
                </c:pt>
                <c:pt idx="14">
                  <c:v>1100</c:v>
                </c:pt>
                <c:pt idx="15">
                  <c:v>1200</c:v>
                </c:pt>
                <c:pt idx="16">
                  <c:v>1300</c:v>
                </c:pt>
                <c:pt idx="17">
                  <c:v>1400</c:v>
                </c:pt>
                <c:pt idx="18">
                  <c:v>1500</c:v>
                </c:pt>
                <c:pt idx="19">
                  <c:v>1600</c:v>
                </c:pt>
                <c:pt idx="20">
                  <c:v>1700</c:v>
                </c:pt>
                <c:pt idx="21">
                  <c:v>1800</c:v>
                </c:pt>
                <c:pt idx="22">
                  <c:v>1900</c:v>
                </c:pt>
                <c:pt idx="23">
                  <c:v>2000</c:v>
                </c:pt>
                <c:pt idx="24">
                  <c:v>2100</c:v>
                </c:pt>
                <c:pt idx="25">
                  <c:v>2200</c:v>
                </c:pt>
                <c:pt idx="26">
                  <c:v>2300</c:v>
                </c:pt>
                <c:pt idx="27">
                  <c:v>2400</c:v>
                </c:pt>
                <c:pt idx="28">
                  <c:v>2500</c:v>
                </c:pt>
                <c:pt idx="29">
                  <c:v>2600</c:v>
                </c:pt>
                <c:pt idx="30">
                  <c:v>2700</c:v>
                </c:pt>
                <c:pt idx="31">
                  <c:v>2800</c:v>
                </c:pt>
                <c:pt idx="32">
                  <c:v>2900</c:v>
                </c:pt>
                <c:pt idx="33">
                  <c:v>3000</c:v>
                </c:pt>
                <c:pt idx="34">
                  <c:v>3100</c:v>
                </c:pt>
                <c:pt idx="35">
                  <c:v>3200</c:v>
                </c:pt>
                <c:pt idx="36">
                  <c:v>3300</c:v>
                </c:pt>
                <c:pt idx="37">
                  <c:v>3400</c:v>
                </c:pt>
                <c:pt idx="38">
                  <c:v>3500</c:v>
                </c:pt>
                <c:pt idx="39">
                  <c:v>3600</c:v>
                </c:pt>
                <c:pt idx="40">
                  <c:v>3700</c:v>
                </c:pt>
                <c:pt idx="41">
                  <c:v>3800</c:v>
                </c:pt>
                <c:pt idx="42">
                  <c:v>3900</c:v>
                </c:pt>
                <c:pt idx="43">
                  <c:v>4000</c:v>
                </c:pt>
                <c:pt idx="44">
                  <c:v>4100</c:v>
                </c:pt>
                <c:pt idx="45">
                  <c:v>4200</c:v>
                </c:pt>
                <c:pt idx="46">
                  <c:v>4300</c:v>
                </c:pt>
                <c:pt idx="47">
                  <c:v>4400</c:v>
                </c:pt>
                <c:pt idx="48">
                  <c:v>4500</c:v>
                </c:pt>
                <c:pt idx="49">
                  <c:v>4600</c:v>
                </c:pt>
                <c:pt idx="50">
                  <c:v>4700</c:v>
                </c:pt>
                <c:pt idx="51">
                  <c:v>4800</c:v>
                </c:pt>
                <c:pt idx="52">
                  <c:v>4900</c:v>
                </c:pt>
                <c:pt idx="53">
                  <c:v>5000</c:v>
                </c:pt>
                <c:pt idx="54">
                  <c:v>5100</c:v>
                </c:pt>
                <c:pt idx="55">
                  <c:v>5200</c:v>
                </c:pt>
                <c:pt idx="56">
                  <c:v>5300</c:v>
                </c:pt>
                <c:pt idx="57">
                  <c:v>5400</c:v>
                </c:pt>
                <c:pt idx="58">
                  <c:v>5520</c:v>
                </c:pt>
                <c:pt idx="59">
                  <c:v>5600</c:v>
                </c:pt>
                <c:pt idx="60">
                  <c:v>5700</c:v>
                </c:pt>
                <c:pt idx="61">
                  <c:v>5800</c:v>
                </c:pt>
                <c:pt idx="62">
                  <c:v>5900</c:v>
                </c:pt>
                <c:pt idx="63">
                  <c:v>6000</c:v>
                </c:pt>
                <c:pt idx="64">
                  <c:v>6500</c:v>
                </c:pt>
                <c:pt idx="65" formatCode="#,##0">
                  <c:v>7500</c:v>
                </c:pt>
                <c:pt idx="66" formatCode="#,##0">
                  <c:v>8020</c:v>
                </c:pt>
                <c:pt idx="67" formatCode="#,##0">
                  <c:v>9500</c:v>
                </c:pt>
                <c:pt idx="68" formatCode="#,##0">
                  <c:v>15000</c:v>
                </c:pt>
                <c:pt idx="69" formatCode="#,##0">
                  <c:v>20000</c:v>
                </c:pt>
              </c:numCache>
            </c:numRef>
          </c:xVal>
          <c:yVal>
            <c:numRef>
              <c:f>'confronto LMW e L'!$C$26:$C$95</c:f>
              <c:numCache>
                <c:formatCode>General</c:formatCode>
                <c:ptCount val="70"/>
                <c:pt idx="0">
                  <c:v>1.5269999999999999</c:v>
                </c:pt>
                <c:pt idx="2">
                  <c:v>2.8069999999999999</c:v>
                </c:pt>
                <c:pt idx="3">
                  <c:v>3.7629999999999999</c:v>
                </c:pt>
                <c:pt idx="5">
                  <c:v>4.2640000000000002</c:v>
                </c:pt>
                <c:pt idx="6">
                  <c:v>5.1120000000000001</c:v>
                </c:pt>
                <c:pt idx="7">
                  <c:v>6.1020000000000003</c:v>
                </c:pt>
                <c:pt idx="8">
                  <c:v>6.9130000000000003</c:v>
                </c:pt>
                <c:pt idx="9">
                  <c:v>7.5830000000000002</c:v>
                </c:pt>
                <c:pt idx="11">
                  <c:v>8.1349999999999998</c:v>
                </c:pt>
                <c:pt idx="12">
                  <c:v>7.3929999999999998</c:v>
                </c:pt>
                <c:pt idx="13">
                  <c:v>6.5910000000000002</c:v>
                </c:pt>
                <c:pt idx="14">
                  <c:v>6.0709999999999997</c:v>
                </c:pt>
                <c:pt idx="15">
                  <c:v>5.5</c:v>
                </c:pt>
                <c:pt idx="16">
                  <c:v>4.6130000000000004</c:v>
                </c:pt>
                <c:pt idx="17">
                  <c:v>3.6970000000000001</c:v>
                </c:pt>
                <c:pt idx="18">
                  <c:v>3.0249999999999999</c:v>
                </c:pt>
                <c:pt idx="19">
                  <c:v>2.5019999999999998</c:v>
                </c:pt>
                <c:pt idx="20">
                  <c:v>2.097</c:v>
                </c:pt>
                <c:pt idx="21">
                  <c:v>1.786</c:v>
                </c:pt>
                <c:pt idx="22">
                  <c:v>1.504</c:v>
                </c:pt>
                <c:pt idx="23">
                  <c:v>1.2649999999999999</c:v>
                </c:pt>
                <c:pt idx="24">
                  <c:v>1.0820000000000001</c:v>
                </c:pt>
                <c:pt idx="25">
                  <c:v>0.92200000000000004</c:v>
                </c:pt>
                <c:pt idx="26">
                  <c:v>0.78100000000000003</c:v>
                </c:pt>
                <c:pt idx="27">
                  <c:v>0.67800000000000005</c:v>
                </c:pt>
                <c:pt idx="28">
                  <c:v>0.56999999999999995</c:v>
                </c:pt>
                <c:pt idx="29">
                  <c:v>0.49099999999999999</c:v>
                </c:pt>
                <c:pt idx="30">
                  <c:v>0.41299999999999998</c:v>
                </c:pt>
                <c:pt idx="31">
                  <c:v>0.36199999999999999</c:v>
                </c:pt>
                <c:pt idx="32">
                  <c:v>0.30399999999999999</c:v>
                </c:pt>
                <c:pt idx="33">
                  <c:v>0.27400000000000002</c:v>
                </c:pt>
                <c:pt idx="34">
                  <c:v>0.22700000000000001</c:v>
                </c:pt>
                <c:pt idx="35">
                  <c:v>0.19</c:v>
                </c:pt>
                <c:pt idx="36">
                  <c:v>0.17599999999999999</c:v>
                </c:pt>
                <c:pt idx="37">
                  <c:v>0.14799999999999999</c:v>
                </c:pt>
                <c:pt idx="38">
                  <c:v>0.129</c:v>
                </c:pt>
                <c:pt idx="39">
                  <c:v>0.12</c:v>
                </c:pt>
                <c:pt idx="40">
                  <c:v>9.5000000000000001E-2</c:v>
                </c:pt>
                <c:pt idx="41">
                  <c:v>8.7999999999999995E-2</c:v>
                </c:pt>
                <c:pt idx="42">
                  <c:v>7.4999999999999997E-2</c:v>
                </c:pt>
                <c:pt idx="43">
                  <c:v>7.0000000000000007E-2</c:v>
                </c:pt>
                <c:pt idx="44">
                  <c:v>8.8999999999999996E-2</c:v>
                </c:pt>
                <c:pt idx="45">
                  <c:v>2.4E-2</c:v>
                </c:pt>
                <c:pt idx="46">
                  <c:v>3.7999999999999999E-2</c:v>
                </c:pt>
                <c:pt idx="47">
                  <c:v>4.7E-2</c:v>
                </c:pt>
                <c:pt idx="48">
                  <c:v>3.5000000000000003E-2</c:v>
                </c:pt>
                <c:pt idx="49">
                  <c:v>2.9000000000000001E-2</c:v>
                </c:pt>
                <c:pt idx="50">
                  <c:v>2.9000000000000001E-2</c:v>
                </c:pt>
                <c:pt idx="51">
                  <c:v>2.5000000000000001E-2</c:v>
                </c:pt>
                <c:pt idx="52">
                  <c:v>1.7999999999999999E-2</c:v>
                </c:pt>
                <c:pt idx="53">
                  <c:v>2.4E-2</c:v>
                </c:pt>
                <c:pt idx="54">
                  <c:v>1.6E-2</c:v>
                </c:pt>
                <c:pt idx="55">
                  <c:v>1.4999999999999999E-2</c:v>
                </c:pt>
                <c:pt idx="56">
                  <c:v>1.4999999999999999E-2</c:v>
                </c:pt>
                <c:pt idx="57">
                  <c:v>1.4999999999999999E-2</c:v>
                </c:pt>
                <c:pt idx="58">
                  <c:v>1.4E-2</c:v>
                </c:pt>
                <c:pt idx="59">
                  <c:v>1.4E-2</c:v>
                </c:pt>
                <c:pt idx="60">
                  <c:v>1.0999999999999999E-2</c:v>
                </c:pt>
                <c:pt idx="61">
                  <c:v>6.0000000000000001E-3</c:v>
                </c:pt>
                <c:pt idx="62">
                  <c:v>1.4E-2</c:v>
                </c:pt>
                <c:pt idx="63">
                  <c:v>7.4999999999999997E-2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'confronto LMW e L'!$D$25</c:f>
              <c:strCache>
                <c:ptCount val="1"/>
                <c:pt idx="0">
                  <c:v>other hydrolysed protein</c:v>
                </c:pt>
              </c:strCache>
            </c:strRef>
          </c:tx>
          <c:spPr>
            <a:ln w="19050">
              <a:solidFill>
                <a:srgbClr val="AC145A"/>
              </a:solidFill>
              <a:prstDash val="solid"/>
            </a:ln>
          </c:spPr>
          <c:marker>
            <c:symbol val="square"/>
            <c:size val="8"/>
            <c:spPr>
              <a:solidFill>
                <a:srgbClr val="AC145A"/>
              </a:solidFill>
              <a:ln w="19050">
                <a:solidFill>
                  <a:srgbClr val="AC145A"/>
                </a:solidFill>
                <a:prstDash val="solid"/>
              </a:ln>
            </c:spPr>
          </c:marker>
          <c:xVal>
            <c:numRef>
              <c:f>'confronto LMW e L'!$B$26:$B$95</c:f>
              <c:numCache>
                <c:formatCode>General</c:formatCode>
                <c:ptCount val="70"/>
                <c:pt idx="0">
                  <c:v>0</c:v>
                </c:pt>
                <c:pt idx="1">
                  <c:v>50</c:v>
                </c:pt>
                <c:pt idx="2">
                  <c:v>100</c:v>
                </c:pt>
                <c:pt idx="3">
                  <c:v>200</c:v>
                </c:pt>
                <c:pt idx="4">
                  <c:v>250</c:v>
                </c:pt>
                <c:pt idx="5">
                  <c:v>300</c:v>
                </c:pt>
                <c:pt idx="6">
                  <c:v>400</c:v>
                </c:pt>
                <c:pt idx="7">
                  <c:v>500</c:v>
                </c:pt>
                <c:pt idx="8">
                  <c:v>600</c:v>
                </c:pt>
                <c:pt idx="9">
                  <c:v>700</c:v>
                </c:pt>
                <c:pt idx="10">
                  <c:v>750</c:v>
                </c:pt>
                <c:pt idx="11">
                  <c:v>800</c:v>
                </c:pt>
                <c:pt idx="12">
                  <c:v>900</c:v>
                </c:pt>
                <c:pt idx="13">
                  <c:v>1000</c:v>
                </c:pt>
                <c:pt idx="14">
                  <c:v>1100</c:v>
                </c:pt>
                <c:pt idx="15">
                  <c:v>1200</c:v>
                </c:pt>
                <c:pt idx="16">
                  <c:v>1300</c:v>
                </c:pt>
                <c:pt idx="17">
                  <c:v>1400</c:v>
                </c:pt>
                <c:pt idx="18">
                  <c:v>1500</c:v>
                </c:pt>
                <c:pt idx="19">
                  <c:v>1600</c:v>
                </c:pt>
                <c:pt idx="20">
                  <c:v>1700</c:v>
                </c:pt>
                <c:pt idx="21">
                  <c:v>1800</c:v>
                </c:pt>
                <c:pt idx="22">
                  <c:v>1900</c:v>
                </c:pt>
                <c:pt idx="23">
                  <c:v>2000</c:v>
                </c:pt>
                <c:pt idx="24">
                  <c:v>2100</c:v>
                </c:pt>
                <c:pt idx="25">
                  <c:v>2200</c:v>
                </c:pt>
                <c:pt idx="26">
                  <c:v>2300</c:v>
                </c:pt>
                <c:pt idx="27">
                  <c:v>2400</c:v>
                </c:pt>
                <c:pt idx="28">
                  <c:v>2500</c:v>
                </c:pt>
                <c:pt idx="29">
                  <c:v>2600</c:v>
                </c:pt>
                <c:pt idx="30">
                  <c:v>2700</c:v>
                </c:pt>
                <c:pt idx="31">
                  <c:v>2800</c:v>
                </c:pt>
                <c:pt idx="32">
                  <c:v>2900</c:v>
                </c:pt>
                <c:pt idx="33">
                  <c:v>3000</c:v>
                </c:pt>
                <c:pt idx="34">
                  <c:v>3100</c:v>
                </c:pt>
                <c:pt idx="35">
                  <c:v>3200</c:v>
                </c:pt>
                <c:pt idx="36">
                  <c:v>3300</c:v>
                </c:pt>
                <c:pt idx="37">
                  <c:v>3400</c:v>
                </c:pt>
                <c:pt idx="38">
                  <c:v>3500</c:v>
                </c:pt>
                <c:pt idx="39">
                  <c:v>3600</c:v>
                </c:pt>
                <c:pt idx="40">
                  <c:v>3700</c:v>
                </c:pt>
                <c:pt idx="41">
                  <c:v>3800</c:v>
                </c:pt>
                <c:pt idx="42">
                  <c:v>3900</c:v>
                </c:pt>
                <c:pt idx="43">
                  <c:v>4000</c:v>
                </c:pt>
                <c:pt idx="44">
                  <c:v>4100</c:v>
                </c:pt>
                <c:pt idx="45">
                  <c:v>4200</c:v>
                </c:pt>
                <c:pt idx="46">
                  <c:v>4300</c:v>
                </c:pt>
                <c:pt idx="47">
                  <c:v>4400</c:v>
                </c:pt>
                <c:pt idx="48">
                  <c:v>4500</c:v>
                </c:pt>
                <c:pt idx="49">
                  <c:v>4600</c:v>
                </c:pt>
                <c:pt idx="50">
                  <c:v>4700</c:v>
                </c:pt>
                <c:pt idx="51">
                  <c:v>4800</c:v>
                </c:pt>
                <c:pt idx="52">
                  <c:v>4900</c:v>
                </c:pt>
                <c:pt idx="53">
                  <c:v>5000</c:v>
                </c:pt>
                <c:pt idx="54">
                  <c:v>5100</c:v>
                </c:pt>
                <c:pt idx="55">
                  <c:v>5200</c:v>
                </c:pt>
                <c:pt idx="56">
                  <c:v>5300</c:v>
                </c:pt>
                <c:pt idx="57">
                  <c:v>5400</c:v>
                </c:pt>
                <c:pt idx="58">
                  <c:v>5520</c:v>
                </c:pt>
                <c:pt idx="59">
                  <c:v>5600</c:v>
                </c:pt>
                <c:pt idx="60">
                  <c:v>5700</c:v>
                </c:pt>
                <c:pt idx="61">
                  <c:v>5800</c:v>
                </c:pt>
                <c:pt idx="62">
                  <c:v>5900</c:v>
                </c:pt>
                <c:pt idx="63">
                  <c:v>6000</c:v>
                </c:pt>
                <c:pt idx="64">
                  <c:v>6500</c:v>
                </c:pt>
                <c:pt idx="65" formatCode="#,##0">
                  <c:v>7500</c:v>
                </c:pt>
                <c:pt idx="66" formatCode="#,##0">
                  <c:v>8020</c:v>
                </c:pt>
                <c:pt idx="67" formatCode="#,##0">
                  <c:v>9500</c:v>
                </c:pt>
                <c:pt idx="68" formatCode="#,##0">
                  <c:v>15000</c:v>
                </c:pt>
                <c:pt idx="69" formatCode="#,##0">
                  <c:v>20000</c:v>
                </c:pt>
              </c:numCache>
            </c:numRef>
          </c:xVal>
          <c:yVal>
            <c:numRef>
              <c:f>'confronto LMW e L'!$D$26:$D$95</c:f>
              <c:numCache>
                <c:formatCode>General</c:formatCode>
                <c:ptCount val="70"/>
                <c:pt idx="1">
                  <c:v>0</c:v>
                </c:pt>
                <c:pt idx="4">
                  <c:v>0.1</c:v>
                </c:pt>
                <c:pt idx="10">
                  <c:v>0.4</c:v>
                </c:pt>
                <c:pt idx="18">
                  <c:v>1</c:v>
                </c:pt>
                <c:pt idx="28">
                  <c:v>2.1</c:v>
                </c:pt>
                <c:pt idx="38">
                  <c:v>3.37</c:v>
                </c:pt>
                <c:pt idx="48">
                  <c:v>4.62</c:v>
                </c:pt>
                <c:pt idx="58">
                  <c:v>5.52</c:v>
                </c:pt>
                <c:pt idx="64">
                  <c:v>5.9</c:v>
                </c:pt>
                <c:pt idx="65">
                  <c:v>5.28</c:v>
                </c:pt>
                <c:pt idx="66">
                  <c:v>4.2</c:v>
                </c:pt>
                <c:pt idx="67">
                  <c:v>3</c:v>
                </c:pt>
                <c:pt idx="68">
                  <c:v>2.4</c:v>
                </c:pt>
                <c:pt idx="69">
                  <c:v>1.6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51060232"/>
        <c:axId val="251065720"/>
      </c:scatterChart>
      <c:valAx>
        <c:axId val="251060232"/>
        <c:scaling>
          <c:orientation val="minMax"/>
          <c:max val="20000"/>
        </c:scaling>
        <c:delete val="0"/>
        <c:axPos val="b"/>
        <c:majorGridlines>
          <c:spPr>
            <a:ln w="3836">
              <a:noFill/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 w="3836">
            <a:solidFill>
              <a:srgbClr val="000000"/>
            </a:solidFill>
            <a:prstDash val="solid"/>
          </a:ln>
        </c:spPr>
        <c:txPr>
          <a:bodyPr rot="1140000" vert="horz"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251065720"/>
        <c:crosses val="autoZero"/>
        <c:crossBetween val="midCat"/>
        <c:majorUnit val="4000"/>
      </c:valAx>
      <c:valAx>
        <c:axId val="251065720"/>
        <c:scaling>
          <c:orientation val="minMax"/>
          <c:max val="9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100" b="0">
                    <a:latin typeface="Baskerville"/>
                  </a:defRPr>
                </a:pPr>
                <a:r>
                  <a:rPr lang="en-US" sz="1100" b="0" dirty="0" smtClean="0">
                    <a:latin typeface="Baskerville"/>
                  </a:rPr>
                  <a:t>Content</a:t>
                </a:r>
                <a:endParaRPr lang="en-US" sz="1100" b="0" dirty="0">
                  <a:latin typeface="Baskerville"/>
                </a:endParaRP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spPr>
          <a:ln w="3836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251060232"/>
        <c:crosses val="autoZero"/>
        <c:crossBetween val="midCat"/>
        <c:majorUnit val="2"/>
      </c:valAx>
      <c:spPr>
        <a:noFill/>
        <a:ln w="30692">
          <a:noFill/>
        </a:ln>
      </c:spPr>
    </c:plotArea>
    <c:legend>
      <c:legendPos val="r"/>
      <c:layout>
        <c:manualLayout>
          <c:xMode val="edge"/>
          <c:yMode val="edge"/>
          <c:x val="0.51147247709659416"/>
          <c:y val="0.25091242545028908"/>
          <c:w val="0.46608023869946491"/>
          <c:h val="0.1327755068973818"/>
        </c:manualLayout>
      </c:layout>
      <c:overlay val="0"/>
      <c:spPr>
        <a:solidFill>
          <a:srgbClr val="FFFFFF"/>
        </a:solidFill>
        <a:ln w="15346">
          <a:noFill/>
          <a:prstDash val="solid"/>
        </a:ln>
      </c:spPr>
      <c:txPr>
        <a:bodyPr/>
        <a:lstStyle/>
        <a:p>
          <a:pPr>
            <a:defRPr sz="9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da-DK"/>
        </a:p>
      </c:txPr>
    </c:legend>
    <c:plotVisOnly val="1"/>
    <c:dispBlanksAs val="span"/>
    <c:showDLblsOverMax val="0"/>
  </c:chart>
  <c:spPr>
    <a:noFill/>
    <a:ln>
      <a:noFill/>
    </a:ln>
  </c:spPr>
  <c:txPr>
    <a:bodyPr/>
    <a:lstStyle/>
    <a:p>
      <a:pPr>
        <a:defRPr sz="1118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da-DK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0">
                <a:latin typeface="Baskerville"/>
              </a:defRPr>
            </a:pPr>
            <a:r>
              <a:rPr lang="en-US" sz="1400" b="0" dirty="0" smtClean="0">
                <a:latin typeface="Baskerville"/>
              </a:rPr>
              <a:t>% Wilted leaves</a:t>
            </a:r>
            <a:endParaRPr lang="en-US" sz="1400" b="0" dirty="0">
              <a:latin typeface="Baskerville"/>
            </a:endParaRPr>
          </a:p>
        </c:rich>
      </c:tx>
      <c:layout/>
      <c:overlay val="1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treated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Rosita 1</c:v>
                </c:pt>
                <c:pt idx="1">
                  <c:v>Rosita 2</c:v>
                </c:pt>
                <c:pt idx="2">
                  <c:v>Croma</c:v>
                </c:pt>
                <c:pt idx="3">
                  <c:v>Minuet Dark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2</c:v>
                </c:pt>
                <c:pt idx="1">
                  <c:v>44</c:v>
                </c:pt>
                <c:pt idx="2">
                  <c:v>76</c:v>
                </c:pt>
                <c:pt idx="3">
                  <c:v>7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icure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Rosita 1</c:v>
                </c:pt>
                <c:pt idx="1">
                  <c:v>Rosita 2</c:v>
                </c:pt>
                <c:pt idx="2">
                  <c:v>Croma</c:v>
                </c:pt>
                <c:pt idx="3">
                  <c:v>Minuet Dark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0</c:v>
                </c:pt>
                <c:pt idx="1">
                  <c:v>30</c:v>
                </c:pt>
                <c:pt idx="2">
                  <c:v>54</c:v>
                </c:pt>
                <c:pt idx="3">
                  <c:v>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4199256"/>
        <c:axId val="374202392"/>
      </c:barChart>
      <c:catAx>
        <c:axId val="3741992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latin typeface="Baskerville"/>
              </a:defRPr>
            </a:pPr>
            <a:endParaRPr lang="da-DK"/>
          </a:p>
        </c:txPr>
        <c:crossAx val="374202392"/>
        <c:crosses val="autoZero"/>
        <c:auto val="1"/>
        <c:lblAlgn val="ctr"/>
        <c:lblOffset val="100"/>
        <c:noMultiLvlLbl val="0"/>
      </c:catAx>
      <c:valAx>
        <c:axId val="37420239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Baskerville"/>
              </a:defRPr>
            </a:pPr>
            <a:endParaRPr lang="da-DK"/>
          </a:p>
        </c:txPr>
        <c:crossAx val="37419925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3295155008537898"/>
          <c:y val="0.25113295457591489"/>
          <c:w val="0.40556416625972241"/>
          <c:h val="9.5225309983314924E-2"/>
        </c:manualLayout>
      </c:layout>
      <c:overlay val="0"/>
      <c:txPr>
        <a:bodyPr/>
        <a:lstStyle/>
        <a:p>
          <a:pPr>
            <a:defRPr>
              <a:latin typeface="Baskerville"/>
            </a:defRPr>
          </a:pPr>
          <a:endParaRPr lang="da-DK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b="0" dirty="0" smtClean="0"/>
              <a:t>% Botrytis</a:t>
            </a:r>
            <a:endParaRPr lang="en-US" sz="1400" b="0" dirty="0"/>
          </a:p>
        </c:rich>
      </c:tx>
      <c:layout>
        <c:manualLayout>
          <c:xMode val="edge"/>
          <c:yMode val="edge"/>
          <c:x val="0.33502175714877752"/>
          <c:y val="4.088515831194732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1063959110374361"/>
          <c:y val="0.23168256376770147"/>
          <c:w val="0.83672882994888798"/>
          <c:h val="0.606310264696524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treated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December</c:v>
                </c:pt>
                <c:pt idx="1">
                  <c:v>January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6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icure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December</c:v>
                </c:pt>
                <c:pt idx="1">
                  <c:v>January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</c:v>
                </c:pt>
                <c:pt idx="1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4200040"/>
        <c:axId val="374198080"/>
      </c:barChart>
      <c:catAx>
        <c:axId val="3742000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74198080"/>
        <c:crosses val="autoZero"/>
        <c:auto val="1"/>
        <c:lblAlgn val="ctr"/>
        <c:lblOffset val="100"/>
        <c:noMultiLvlLbl val="0"/>
      </c:catAx>
      <c:valAx>
        <c:axId val="374198080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3742000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0636413869318967"/>
          <c:y val="0.23054990537929565"/>
          <c:w val="0.48902610857853296"/>
          <c:h val="0.1162721320429648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>
          <a:latin typeface="Baskerville"/>
        </a:defRPr>
      </a:pPr>
      <a:endParaRPr lang="da-DK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b="0" dirty="0" smtClean="0"/>
              <a:t>Shelf life</a:t>
            </a:r>
            <a:r>
              <a:rPr lang="en-US" sz="1400" b="0" baseline="0" dirty="0" smtClean="0"/>
              <a:t> (days)</a:t>
            </a:r>
            <a:endParaRPr lang="en-US" sz="1400" b="0" dirty="0"/>
          </a:p>
        </c:rich>
      </c:tx>
      <c:layout/>
      <c:overlay val="1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treated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December</c:v>
                </c:pt>
                <c:pt idx="1">
                  <c:v>January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.199999999999999</c:v>
                </c:pt>
                <c:pt idx="1">
                  <c:v>10.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icure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December</c:v>
                </c:pt>
                <c:pt idx="1">
                  <c:v>January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0.8</c:v>
                </c:pt>
                <c:pt idx="1">
                  <c:v>14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4203568"/>
        <c:axId val="374200432"/>
      </c:barChart>
      <c:catAx>
        <c:axId val="3742035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74200432"/>
        <c:crosses val="autoZero"/>
        <c:auto val="1"/>
        <c:lblAlgn val="ctr"/>
        <c:lblOffset val="100"/>
        <c:noMultiLvlLbl val="0"/>
      </c:catAx>
      <c:valAx>
        <c:axId val="37420043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37420356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5602189528940461"/>
          <c:y val="0.22914771696064581"/>
          <c:w val="0.57392077635032468"/>
          <c:h val="0.1149999946931978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>
          <a:latin typeface="Baskerville"/>
        </a:defRPr>
      </a:pPr>
      <a:endParaRPr lang="da-DK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0"/>
            </a:pPr>
            <a:r>
              <a:rPr lang="en-US" sz="1400" b="0" dirty="0" smtClean="0"/>
              <a:t>Average # flowers per pot at consumer level</a:t>
            </a:r>
            <a:endParaRPr lang="en-US" sz="1400" b="0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treated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d\-mmm</c:formatCode>
                <c:ptCount val="4"/>
                <c:pt idx="0">
                  <c:v>41845</c:v>
                </c:pt>
                <c:pt idx="1">
                  <c:v>41852</c:v>
                </c:pt>
                <c:pt idx="2">
                  <c:v>41859</c:v>
                </c:pt>
                <c:pt idx="3">
                  <c:v>41866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88</c:v>
                </c:pt>
                <c:pt idx="1">
                  <c:v>5.55</c:v>
                </c:pt>
                <c:pt idx="2">
                  <c:v>6.25</c:v>
                </c:pt>
                <c:pt idx="3">
                  <c:v>5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eekly foliar (4x) 2.5 l /ha 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d\-mmm</c:formatCode>
                <c:ptCount val="4"/>
                <c:pt idx="0">
                  <c:v>41845</c:v>
                </c:pt>
                <c:pt idx="1">
                  <c:v>41852</c:v>
                </c:pt>
                <c:pt idx="2">
                  <c:v>41859</c:v>
                </c:pt>
                <c:pt idx="3">
                  <c:v>41866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5.42</c:v>
                </c:pt>
                <c:pt idx="1">
                  <c:v>6.23</c:v>
                </c:pt>
                <c:pt idx="2">
                  <c:v>7.25</c:v>
                </c:pt>
                <c:pt idx="3">
                  <c:v>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ekly drenches (8x) 1.25l /ha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d\-mmm</c:formatCode>
                <c:ptCount val="4"/>
                <c:pt idx="0">
                  <c:v>41845</c:v>
                </c:pt>
                <c:pt idx="1">
                  <c:v>41852</c:v>
                </c:pt>
                <c:pt idx="2">
                  <c:v>41859</c:v>
                </c:pt>
                <c:pt idx="3">
                  <c:v>41866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5.43</c:v>
                </c:pt>
                <c:pt idx="1">
                  <c:v>6.3</c:v>
                </c:pt>
                <c:pt idx="2">
                  <c:v>8.75</c:v>
                </c:pt>
                <c:pt idx="3">
                  <c:v>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4201608"/>
        <c:axId val="374201216"/>
      </c:lineChart>
      <c:catAx>
        <c:axId val="374201608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crossAx val="374201216"/>
        <c:crosses val="autoZero"/>
        <c:auto val="0"/>
        <c:lblAlgn val="ctr"/>
        <c:lblOffset val="100"/>
        <c:noMultiLvlLbl val="0"/>
      </c:catAx>
      <c:valAx>
        <c:axId val="374201216"/>
        <c:scaling>
          <c:orientation val="minMax"/>
          <c:min val="2"/>
        </c:scaling>
        <c:delete val="0"/>
        <c:axPos val="l"/>
        <c:majorGridlines>
          <c:spPr>
            <a:ln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sysDot"/>
            </a:ln>
          </c:spPr>
        </c:majorGridlines>
        <c:numFmt formatCode="General" sourceLinked="1"/>
        <c:majorTickMark val="out"/>
        <c:minorTickMark val="none"/>
        <c:tickLblPos val="nextTo"/>
        <c:crossAx val="3742016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3.759635120426532E-2"/>
          <c:y val="0.81865108840431489"/>
          <c:w val="0.73958424484143981"/>
          <c:h val="0.1797819156478267"/>
        </c:manualLayout>
      </c:layout>
      <c:overlay val="0"/>
      <c:txPr>
        <a:bodyPr/>
        <a:lstStyle/>
        <a:p>
          <a:pPr>
            <a:defRPr sz="900"/>
          </a:pPr>
          <a:endParaRPr lang="da-DK"/>
        </a:p>
      </c:txPr>
    </c:legend>
    <c:plotVisOnly val="1"/>
    <c:dispBlanksAs val="gap"/>
    <c:showDLblsOverMax val="0"/>
  </c:chart>
  <c:txPr>
    <a:bodyPr/>
    <a:lstStyle/>
    <a:p>
      <a:pPr>
        <a:defRPr>
          <a:latin typeface="Baskerville"/>
        </a:defRPr>
      </a:pPr>
      <a:endParaRPr lang="da-DK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nbehandeld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d\-mmm</c:formatCode>
                <c:ptCount val="4"/>
                <c:pt idx="0">
                  <c:v>41845</c:v>
                </c:pt>
                <c:pt idx="1">
                  <c:v>41852</c:v>
                </c:pt>
                <c:pt idx="2">
                  <c:v>41859</c:v>
                </c:pt>
                <c:pt idx="3">
                  <c:v>41866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88</c:v>
                </c:pt>
                <c:pt idx="1">
                  <c:v>5.55</c:v>
                </c:pt>
                <c:pt idx="2">
                  <c:v>6.25</c:v>
                </c:pt>
                <c:pt idx="3">
                  <c:v>5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4x spuiten na planten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d\-mmm</c:formatCode>
                <c:ptCount val="4"/>
                <c:pt idx="0">
                  <c:v>41845</c:v>
                </c:pt>
                <c:pt idx="1">
                  <c:v>41852</c:v>
                </c:pt>
                <c:pt idx="2">
                  <c:v>41859</c:v>
                </c:pt>
                <c:pt idx="3">
                  <c:v>41866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5.42</c:v>
                </c:pt>
                <c:pt idx="1">
                  <c:v>6.23</c:v>
                </c:pt>
                <c:pt idx="2">
                  <c:v>7.25</c:v>
                </c:pt>
                <c:pt idx="3">
                  <c:v>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ekelijks aangieten</c:v>
                </c:pt>
              </c:strCache>
            </c:strRef>
          </c:tx>
          <c:marker>
            <c:symbol val="none"/>
          </c:marker>
          <c:cat>
            <c:numRef>
              <c:f>Sheet1!$A$2:$A$5</c:f>
              <c:numCache>
                <c:formatCode>d\-mmm</c:formatCode>
                <c:ptCount val="4"/>
                <c:pt idx="0">
                  <c:v>41845</c:v>
                </c:pt>
                <c:pt idx="1">
                  <c:v>41852</c:v>
                </c:pt>
                <c:pt idx="2">
                  <c:v>41859</c:v>
                </c:pt>
                <c:pt idx="3">
                  <c:v>41866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5.43</c:v>
                </c:pt>
                <c:pt idx="1">
                  <c:v>6.3</c:v>
                </c:pt>
                <c:pt idx="2">
                  <c:v>8.75</c:v>
                </c:pt>
                <c:pt idx="3">
                  <c:v>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2320784"/>
        <c:axId val="372321176"/>
      </c:lineChart>
      <c:catAx>
        <c:axId val="372320784"/>
        <c:scaling>
          <c:orientation val="minMax"/>
        </c:scaling>
        <c:delete val="0"/>
        <c:axPos val="b"/>
        <c:numFmt formatCode="d\-mmm" sourceLinked="1"/>
        <c:majorTickMark val="out"/>
        <c:minorTickMark val="none"/>
        <c:tickLblPos val="nextTo"/>
        <c:crossAx val="372321176"/>
        <c:crosses val="autoZero"/>
        <c:auto val="0"/>
        <c:lblAlgn val="ctr"/>
        <c:lblOffset val="100"/>
        <c:noMultiLvlLbl val="0"/>
      </c:catAx>
      <c:valAx>
        <c:axId val="372321176"/>
        <c:scaling>
          <c:orientation val="minMax"/>
          <c:min val="2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Gem. # bloemen  per pot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372320784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400">
          <a:latin typeface="Baskerville"/>
        </a:defRPr>
      </a:pPr>
      <a:endParaRPr lang="da-DK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0"/>
            </a:pPr>
            <a:r>
              <a:rPr lang="en-US" sz="1400" b="0" i="1" dirty="0"/>
              <a:t>B. </a:t>
            </a:r>
            <a:r>
              <a:rPr lang="en-US" sz="1400" b="0" i="1" dirty="0" err="1"/>
              <a:t>cinerea</a:t>
            </a:r>
            <a:r>
              <a:rPr lang="en-US" sz="1400" b="0" i="1" dirty="0"/>
              <a:t> </a:t>
            </a:r>
            <a:r>
              <a:rPr lang="en-US" sz="1400" b="0" dirty="0" smtClean="0"/>
              <a:t>infection in plant</a:t>
            </a:r>
            <a:endParaRPr lang="en-US" sz="1400" b="0" dirty="0"/>
          </a:p>
        </c:rich>
      </c:tx>
      <c:layout>
        <c:manualLayout>
          <c:xMode val="edge"/>
          <c:yMode val="edge"/>
          <c:x val="0.22619358551992258"/>
          <c:y val="1.1932487931535656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ALA</c:v>
                </c:pt>
              </c:strCache>
            </c:strRef>
          </c:tx>
          <c:invertIfNegative val="0"/>
          <c:cat>
            <c:strRef>
              <c:f>Sheet1!$A$2:$A$7</c:f>
              <c:strCache>
                <c:ptCount val="2"/>
                <c:pt idx="0">
                  <c:v>Grower practice</c:v>
                </c:pt>
                <c:pt idx="1">
                  <c:v>Weekly foliar 1.25 l/ha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2"/>
                <c:pt idx="0">
                  <c:v>1.9</c:v>
                </c:pt>
                <c:pt idx="1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4DALA*</c:v>
                </c:pt>
              </c:strCache>
            </c:strRef>
          </c:tx>
          <c:invertIfNegative val="0"/>
          <c:cat>
            <c:strRef>
              <c:f>Sheet1!$A$2:$A$7</c:f>
              <c:strCache>
                <c:ptCount val="2"/>
                <c:pt idx="0">
                  <c:v>Grower practice</c:v>
                </c:pt>
                <c:pt idx="1">
                  <c:v>Weekly foliar 1.25 l/ha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2"/>
                <c:pt idx="0">
                  <c:v>9</c:v>
                </c:pt>
                <c:pt idx="1">
                  <c:v>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1DALA</c:v>
                </c:pt>
              </c:strCache>
            </c:strRef>
          </c:tx>
          <c:invertIfNegative val="0"/>
          <c:cat>
            <c:strRef>
              <c:f>Sheet1!$A$2:$A$7</c:f>
              <c:strCache>
                <c:ptCount val="2"/>
                <c:pt idx="0">
                  <c:v>Grower practice</c:v>
                </c:pt>
                <c:pt idx="1">
                  <c:v>Weekly foliar 1.25 l/ha</c:v>
                </c:pt>
              </c:strCache>
            </c:strRef>
          </c:cat>
          <c:val>
            <c:numRef>
              <c:f>Sheet1!$D$2:$D$7</c:f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2320000"/>
        <c:axId val="372320392"/>
      </c:barChart>
      <c:catAx>
        <c:axId val="3723200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da-DK"/>
          </a:p>
        </c:txPr>
        <c:crossAx val="372320392"/>
        <c:crosses val="autoZero"/>
        <c:auto val="1"/>
        <c:lblAlgn val="ctr"/>
        <c:lblOffset val="100"/>
        <c:noMultiLvlLbl val="0"/>
      </c:catAx>
      <c:valAx>
        <c:axId val="37232039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000" b="0"/>
                </a:pPr>
                <a:r>
                  <a:rPr lang="en-US" sz="1000" b="0" dirty="0"/>
                  <a:t>Infestation in </a:t>
                </a:r>
                <a:r>
                  <a:rPr lang="en-US" sz="1000" b="0" dirty="0" smtClean="0"/>
                  <a:t>% area</a:t>
                </a:r>
                <a:endParaRPr lang="en-US" sz="1000" b="0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37232000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244607716443183"/>
          <c:y val="0.24443388336165803"/>
          <c:w val="0.5620433021250818"/>
          <c:h val="9.3701443526573114E-2"/>
        </c:manualLayout>
      </c:layout>
      <c:overlay val="0"/>
      <c:txPr>
        <a:bodyPr/>
        <a:lstStyle/>
        <a:p>
          <a:pPr>
            <a:defRPr sz="900"/>
          </a:pPr>
          <a:endParaRPr lang="da-DK"/>
        </a:p>
      </c:txPr>
    </c:legend>
    <c:plotVisOnly val="1"/>
    <c:dispBlanksAs val="gap"/>
    <c:showDLblsOverMax val="0"/>
  </c:chart>
  <c:txPr>
    <a:bodyPr/>
    <a:lstStyle/>
    <a:p>
      <a:pPr>
        <a:defRPr sz="700">
          <a:latin typeface="Baskerville"/>
        </a:defRPr>
      </a:pPr>
      <a:endParaRPr lang="da-DK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 b="0"/>
            </a:pPr>
            <a:r>
              <a:rPr lang="en-US" sz="1400" b="0" i="1" dirty="0"/>
              <a:t>B. </a:t>
            </a:r>
            <a:r>
              <a:rPr lang="en-US" sz="1400" b="0" i="1" dirty="0" err="1"/>
              <a:t>cinerea</a:t>
            </a:r>
            <a:r>
              <a:rPr lang="en-US" sz="1400" b="0" i="1" dirty="0"/>
              <a:t> </a:t>
            </a:r>
            <a:r>
              <a:rPr lang="en-US" sz="1400" b="0" dirty="0" smtClean="0"/>
              <a:t>infection</a:t>
            </a:r>
            <a:r>
              <a:rPr lang="en-US" sz="1400" b="0" baseline="0" dirty="0" smtClean="0"/>
              <a:t> flowers</a:t>
            </a:r>
            <a:endParaRPr lang="en-US" sz="1400" b="0" dirty="0"/>
          </a:p>
        </c:rich>
      </c:tx>
      <c:layout>
        <c:manualLayout>
          <c:xMode val="edge"/>
          <c:yMode val="edge"/>
          <c:x val="0.23829856458202542"/>
          <c:y val="9.4552132874445721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7DALA</c:v>
                </c:pt>
              </c:strCache>
            </c:strRef>
          </c:tx>
          <c:invertIfNegative val="0"/>
          <c:cat>
            <c:strRef>
              <c:f>Sheet1!$A$2:$A$7</c:f>
              <c:strCache>
                <c:ptCount val="2"/>
                <c:pt idx="0">
                  <c:v>Grower practice</c:v>
                </c:pt>
                <c:pt idx="1">
                  <c:v>Weekly foliar 1.25 l/ha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2"/>
                <c:pt idx="0">
                  <c:v>34.700000000000003</c:v>
                </c:pt>
                <c:pt idx="1">
                  <c:v>17.1000000000000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4DALA</c:v>
                </c:pt>
              </c:strCache>
            </c:strRef>
          </c:tx>
          <c:invertIfNegative val="0"/>
          <c:cat>
            <c:strRef>
              <c:f>Sheet1!$A$2:$A$7</c:f>
              <c:strCache>
                <c:ptCount val="2"/>
                <c:pt idx="0">
                  <c:v>Grower practice</c:v>
                </c:pt>
                <c:pt idx="1">
                  <c:v>Weekly foliar 1.25 l/ha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2"/>
                <c:pt idx="0">
                  <c:v>67.3</c:v>
                </c:pt>
                <c:pt idx="1">
                  <c:v>47.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1DALA</c:v>
                </c:pt>
              </c:strCache>
            </c:strRef>
          </c:tx>
          <c:invertIfNegative val="0"/>
          <c:cat>
            <c:strRef>
              <c:f>Sheet1!$A$2:$A$7</c:f>
              <c:strCache>
                <c:ptCount val="2"/>
                <c:pt idx="0">
                  <c:v>Grower practice</c:v>
                </c:pt>
                <c:pt idx="1">
                  <c:v>Weekly foliar 1.25 l/ha</c:v>
                </c:pt>
              </c:strCache>
            </c:strRef>
          </c:cat>
          <c:val>
            <c:numRef>
              <c:f>Sheet1!$D$2:$D$7</c:f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2318040"/>
        <c:axId val="372323528"/>
      </c:barChart>
      <c:catAx>
        <c:axId val="3723180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da-DK"/>
          </a:p>
        </c:txPr>
        <c:crossAx val="372323528"/>
        <c:crosses val="autoZero"/>
        <c:auto val="1"/>
        <c:lblAlgn val="ctr"/>
        <c:lblOffset val="100"/>
        <c:noMultiLvlLbl val="0"/>
      </c:catAx>
      <c:valAx>
        <c:axId val="37232352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000" b="0"/>
                </a:pPr>
                <a:r>
                  <a:rPr lang="en-US" sz="1000" b="0" dirty="0"/>
                  <a:t>Infestation in </a:t>
                </a:r>
                <a:r>
                  <a:rPr lang="en-US" sz="1000" b="0" dirty="0" smtClean="0"/>
                  <a:t>% area</a:t>
                </a:r>
                <a:endParaRPr lang="en-US" sz="1000" b="0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37231804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1382143785321645"/>
          <c:y val="0.24433124886814736"/>
          <c:w val="0.52247390957858475"/>
          <c:h val="8.29643172763216E-2"/>
        </c:manualLayout>
      </c:layout>
      <c:overlay val="0"/>
      <c:txPr>
        <a:bodyPr/>
        <a:lstStyle/>
        <a:p>
          <a:pPr>
            <a:defRPr sz="900"/>
          </a:pPr>
          <a:endParaRPr lang="da-DK"/>
        </a:p>
      </c:txPr>
    </c:legend>
    <c:plotVisOnly val="1"/>
    <c:dispBlanksAs val="gap"/>
    <c:showDLblsOverMax val="0"/>
  </c:chart>
  <c:txPr>
    <a:bodyPr/>
    <a:lstStyle/>
    <a:p>
      <a:pPr>
        <a:defRPr sz="700">
          <a:latin typeface="Baskerville"/>
        </a:defRPr>
      </a:pPr>
      <a:endParaRPr lang="da-DK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BE3891-B963-554C-A621-ED2B4D7C755A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0FA1E2-D1A1-F641-AC0E-0F5C562E29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9254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BF0B37-93DC-CF40-AC85-AA05338C1AE7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42A43C-4503-1948-9FBA-06B20C24DE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50143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806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p het veld was </a:t>
            </a:r>
            <a:r>
              <a:rPr lang="en-US" dirty="0" err="1" smtClean="0"/>
              <a:t>nie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ien</a:t>
            </a:r>
            <a:endParaRPr lang="en-US" baseline="0" dirty="0" smtClean="0"/>
          </a:p>
          <a:p>
            <a:r>
              <a:rPr lang="en-US" baseline="0" dirty="0" err="1" smtClean="0"/>
              <a:t>Proef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uinsimulati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357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Ivm</a:t>
            </a:r>
            <a:r>
              <a:rPr lang="en-US" dirty="0" smtClean="0"/>
              <a:t> de </a:t>
            </a:r>
            <a:r>
              <a:rPr lang="en-US" dirty="0" err="1" smtClean="0"/>
              <a:t>gegevens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5800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 </a:t>
            </a:r>
            <a:r>
              <a:rPr lang="en-US" dirty="0" err="1" smtClean="0"/>
              <a:t>Polen</a:t>
            </a:r>
            <a:r>
              <a:rPr lang="en-US" dirty="0" smtClean="0"/>
              <a:t> is </a:t>
            </a:r>
            <a:r>
              <a:rPr lang="en-US" dirty="0" err="1" smtClean="0"/>
              <a:t>er</a:t>
            </a:r>
            <a:r>
              <a:rPr lang="en-US" dirty="0" smtClean="0"/>
              <a:t> </a:t>
            </a:r>
            <a:r>
              <a:rPr lang="en-US" dirty="0" err="1" smtClean="0"/>
              <a:t>geen</a:t>
            </a:r>
            <a:r>
              <a:rPr lang="en-US" dirty="0" smtClean="0"/>
              <a:t> </a:t>
            </a:r>
            <a:r>
              <a:rPr lang="en-US" dirty="0" err="1" smtClean="0"/>
              <a:t>beleid</a:t>
            </a:r>
            <a:r>
              <a:rPr lang="en-US" dirty="0" smtClean="0"/>
              <a:t> op het </a:t>
            </a:r>
            <a:r>
              <a:rPr lang="en-US" dirty="0" err="1" smtClean="0"/>
              <a:t>gebied</a:t>
            </a:r>
            <a:r>
              <a:rPr lang="en-US" dirty="0" smtClean="0"/>
              <a:t> van </a:t>
            </a:r>
            <a:r>
              <a:rPr lang="en-US" dirty="0" err="1" smtClean="0"/>
              <a:t>biostimulanten</a:t>
            </a:r>
            <a:r>
              <a:rPr lang="en-US" dirty="0" smtClean="0"/>
              <a:t> </a:t>
            </a:r>
            <a:r>
              <a:rPr lang="en-US" dirty="0" err="1" smtClean="0"/>
              <a:t>vandaar</a:t>
            </a:r>
            <a:r>
              <a:rPr lang="en-US" dirty="0" smtClean="0"/>
              <a:t> </a:t>
            </a:r>
            <a:r>
              <a:rPr lang="en-US" dirty="0" err="1" smtClean="0"/>
              <a:t>dat</a:t>
            </a:r>
            <a:r>
              <a:rPr lang="en-US" dirty="0" smtClean="0"/>
              <a:t> </a:t>
            </a:r>
            <a:r>
              <a:rPr lang="en-US" dirty="0" err="1" smtClean="0"/>
              <a:t>hicure</a:t>
            </a:r>
            <a:r>
              <a:rPr lang="en-US" dirty="0" smtClean="0"/>
              <a:t> </a:t>
            </a:r>
            <a:r>
              <a:rPr lang="en-US" dirty="0" err="1" smtClean="0"/>
              <a:t>wordt</a:t>
            </a:r>
            <a:r>
              <a:rPr lang="en-US" dirty="0" smtClean="0"/>
              <a:t> </a:t>
            </a:r>
            <a:r>
              <a:rPr lang="en-US" dirty="0" err="1" smtClean="0"/>
              <a:t>geregistreerd</a:t>
            </a:r>
            <a:r>
              <a:rPr lang="en-US" dirty="0" smtClean="0"/>
              <a:t> </a:t>
            </a:r>
            <a:r>
              <a:rPr lang="en-US" dirty="0" err="1" smtClean="0"/>
              <a:t>als</a:t>
            </a:r>
            <a:r>
              <a:rPr lang="en-US" dirty="0" smtClean="0"/>
              <a:t> </a:t>
            </a:r>
            <a:r>
              <a:rPr lang="en-US" dirty="0" err="1" smtClean="0"/>
              <a:t>meststof</a:t>
            </a:r>
            <a:r>
              <a:rPr lang="en-US" dirty="0" smtClean="0"/>
              <a:t>. </a:t>
            </a:r>
            <a:r>
              <a:rPr lang="en-US" dirty="0" err="1" smtClean="0"/>
              <a:t>Claimen</a:t>
            </a:r>
            <a:r>
              <a:rPr lang="en-US" dirty="0" smtClean="0"/>
              <a:t> v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lantversterk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erki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word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nderzocht</a:t>
            </a:r>
            <a:r>
              <a:rPr lang="en-US" baseline="0" dirty="0" smtClean="0"/>
              <a:t> wat we </a:t>
            </a:r>
            <a:r>
              <a:rPr lang="en-US" baseline="0" dirty="0" err="1" smtClean="0"/>
              <a:t>mo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laim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2132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creation of proteins by connecting specific amino acids is consuming energy which a plant also can use for e.g. photosynthesis. By providing 'ready to use' amino acids the plant can save energy which can result in better </a:t>
            </a:r>
            <a:r>
              <a:rPr lang="en-US" dirty="0" smtClean="0"/>
              <a:t>production</a:t>
            </a:r>
          </a:p>
          <a:p>
            <a:endParaRPr lang="en-US" dirty="0" smtClean="0"/>
          </a:p>
          <a:p>
            <a:r>
              <a:rPr lang="en-US" dirty="0" smtClean="0"/>
              <a:t>In </a:t>
            </a:r>
            <a:r>
              <a:rPr lang="en-US" dirty="0" err="1" smtClean="0"/>
              <a:t>periodes</a:t>
            </a:r>
            <a:r>
              <a:rPr lang="en-US" baseline="0" dirty="0" smtClean="0"/>
              <a:t> van stress </a:t>
            </a:r>
            <a:r>
              <a:rPr lang="en-US" baseline="0" dirty="0" err="1" smtClean="0"/>
              <a:t>breekt</a:t>
            </a:r>
            <a:r>
              <a:rPr lang="en-US" baseline="0" dirty="0" smtClean="0"/>
              <a:t> de plant </a:t>
            </a:r>
            <a:r>
              <a:rPr lang="en-US" baseline="0" dirty="0" err="1" smtClean="0"/>
              <a:t>z’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minozur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f</a:t>
            </a:r>
            <a:r>
              <a:rPr lang="en-US" baseline="0" dirty="0" smtClean="0"/>
              <a:t>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2893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137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 NL </a:t>
            </a:r>
            <a:r>
              <a:rPr lang="en-US" dirty="0" err="1" smtClean="0"/>
              <a:t>presentatie</a:t>
            </a:r>
            <a:r>
              <a:rPr lang="en-US" dirty="0" smtClean="0"/>
              <a:t> </a:t>
            </a:r>
            <a:r>
              <a:rPr lang="en-US" dirty="0" err="1" smtClean="0"/>
              <a:t>uitleg</a:t>
            </a:r>
            <a:r>
              <a:rPr lang="en-US" dirty="0" smtClean="0"/>
              <a:t> </a:t>
            </a:r>
            <a:r>
              <a:rPr lang="en-US" dirty="0" err="1" smtClean="0"/>
              <a:t>eiwit</a:t>
            </a:r>
            <a:r>
              <a:rPr lang="en-US" dirty="0" smtClean="0"/>
              <a:t> </a:t>
            </a:r>
            <a:r>
              <a:rPr lang="en-US" dirty="0" err="1" smtClean="0"/>
              <a:t>opbouw</a:t>
            </a:r>
            <a:r>
              <a:rPr lang="en-US" dirty="0" smtClean="0"/>
              <a:t> (peptides)</a:t>
            </a:r>
          </a:p>
          <a:p>
            <a:r>
              <a:rPr lang="en-US" dirty="0" err="1" smtClean="0"/>
              <a:t>Zove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rter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ket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zovee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kort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ij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planteig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minozu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0443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710B1-588B-4F2D-9EC8-2AA46335A96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6356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239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vember </a:t>
            </a:r>
            <a:r>
              <a:rPr lang="en-US" dirty="0" err="1" smtClean="0"/>
              <a:t>gestart</a:t>
            </a:r>
            <a:r>
              <a:rPr lang="en-US" dirty="0" smtClean="0"/>
              <a:t> met </a:t>
            </a:r>
            <a:r>
              <a:rPr lang="en-US" dirty="0" err="1" smtClean="0"/>
              <a:t>druppel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4064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Advies</a:t>
            </a:r>
            <a:r>
              <a:rPr lang="en-US" dirty="0" smtClean="0"/>
              <a:t> slide </a:t>
            </a:r>
            <a:r>
              <a:rPr lang="en-US" dirty="0" err="1" smtClean="0"/>
              <a:t>eventueel</a:t>
            </a:r>
            <a:r>
              <a:rPr lang="en-US" dirty="0" smtClean="0"/>
              <a:t> </a:t>
            </a:r>
            <a:r>
              <a:rPr lang="en-US" dirty="0" err="1" smtClean="0"/>
              <a:t>wegla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206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jpeg"/><Relationship Id="rId5" Type="http://schemas.openxmlformats.org/officeDocument/2006/relationships/image" Target="../media/image2.png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jpeg"/><Relationship Id="rId5" Type="http://schemas.openxmlformats.org/officeDocument/2006/relationships/image" Target="../media/image2.pn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8" name="Picture 25" descr="E:\Docs\Documents\WORK\Current jobs\Syngenta\Job Ref 854 - Powerpoint Template\Artwork\hOOK-OVERLAY.png"/>
          <p:cNvPicPr>
            <a:picLocks noChangeAspect="1" noChangeArrowheads="1"/>
          </p:cNvPicPr>
          <p:nvPr userDrawn="1"/>
        </p:nvPicPr>
        <p:blipFill>
          <a:blip r:embed="rId2" cstate="print">
            <a:alphaModFix/>
          </a:blip>
          <a:srcRect/>
          <a:stretch>
            <a:fillRect/>
          </a:stretch>
        </p:blipFill>
        <p:spPr bwMode="auto">
          <a:xfrm>
            <a:off x="7986713" y="1168400"/>
            <a:ext cx="1116012" cy="551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249" y="84295"/>
            <a:ext cx="3997491" cy="1470025"/>
          </a:xfrm>
        </p:spPr>
        <p:txBody>
          <a:bodyPr anchor="b" anchorCtr="0">
            <a:noAutofit/>
          </a:bodyPr>
          <a:lstStyle>
            <a:lvl1pPr algn="l">
              <a:lnSpc>
                <a:spcPts val="3700"/>
              </a:lnSpc>
              <a:defRPr sz="4000" b="0" i="0">
                <a:solidFill>
                  <a:srgbClr val="AC145A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249" y="1559851"/>
            <a:ext cx="3997492" cy="567812"/>
          </a:xfrm>
        </p:spPr>
        <p:txBody>
          <a:bodyPr>
            <a:normAutofit/>
          </a:bodyPr>
          <a:lstStyle>
            <a:lvl1pPr marL="0" indent="0" algn="l">
              <a:buNone/>
              <a:defRPr sz="24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740391" y="6611320"/>
            <a:ext cx="184419" cy="1533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600" dirty="0" smtClean="0">
                <a:solidFill>
                  <a:srgbClr val="FFFFFF"/>
                </a:solidFill>
                <a:latin typeface="+mj-lt"/>
                <a:cs typeface="Baskerville"/>
              </a:rPr>
              <a:t>TM</a:t>
            </a:r>
          </a:p>
        </p:txBody>
      </p:sp>
      <p:sp>
        <p:nvSpPr>
          <p:cNvPr id="21" name="Rectangle 14"/>
          <p:cNvSpPr>
            <a:spLocks noChangeArrowheads="1"/>
          </p:cNvSpPr>
          <p:nvPr userDrawn="1"/>
        </p:nvSpPr>
        <p:spPr bwMode="auto">
          <a:xfrm>
            <a:off x="0" y="5408613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2" name="Rectangle 15"/>
          <p:cNvSpPr>
            <a:spLocks noChangeArrowheads="1"/>
          </p:cNvSpPr>
          <p:nvPr userDrawn="1"/>
        </p:nvSpPr>
        <p:spPr bwMode="auto">
          <a:xfrm>
            <a:off x="0" y="5297488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3" name="Rectangle 13"/>
          <p:cNvSpPr>
            <a:spLocks noChangeArrowheads="1"/>
          </p:cNvSpPr>
          <p:nvPr userDrawn="1"/>
        </p:nvSpPr>
        <p:spPr bwMode="auto">
          <a:xfrm>
            <a:off x="7988299" y="5408613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075137"/>
            <a:ext cx="7982857" cy="0"/>
          </a:xfrm>
          <a:prstGeom prst="line">
            <a:avLst/>
          </a:prstGeom>
          <a:ln w="6350">
            <a:solidFill>
              <a:srgbClr val="AC145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Syngent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5621644"/>
            <a:ext cx="845180" cy="237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9743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197793" y="1343025"/>
            <a:ext cx="2165308" cy="4570413"/>
          </a:xfrm>
        </p:spPr>
        <p:txBody>
          <a:bodyPr/>
          <a:lstStyle>
            <a:lvl1pPr marL="0" indent="0">
              <a:buNone/>
              <a:defRPr sz="1800" i="1">
                <a:solidFill>
                  <a:schemeClr val="accent3"/>
                </a:solidFill>
              </a:defRPr>
            </a:lvl1pPr>
            <a:lvl2pPr marL="176213" indent="-176213">
              <a:defRPr i="1">
                <a:solidFill>
                  <a:schemeClr val="accent3"/>
                </a:solidFill>
              </a:defRPr>
            </a:lvl2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tex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raffi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326" y="1339851"/>
            <a:ext cx="1520640" cy="453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reeform 29"/>
          <p:cNvSpPr>
            <a:spLocks/>
          </p:cNvSpPr>
          <p:nvPr userDrawn="1"/>
        </p:nvSpPr>
        <p:spPr bwMode="auto">
          <a:xfrm>
            <a:off x="0" y="0"/>
            <a:ext cx="9144000" cy="6858000"/>
          </a:xfrm>
          <a:custGeom>
            <a:avLst/>
            <a:gdLst/>
            <a:ahLst/>
            <a:cxnLst>
              <a:cxn ang="0">
                <a:pos x="5760" y="0"/>
              </a:cxn>
              <a:cxn ang="0">
                <a:pos x="5760" y="4320"/>
              </a:cxn>
              <a:cxn ang="0">
                <a:pos x="0" y="4320"/>
              </a:cxn>
              <a:cxn ang="0">
                <a:pos x="0" y="0"/>
              </a:cxn>
            </a:cxnLst>
            <a:rect l="0" t="0" r="r" b="b"/>
            <a:pathLst>
              <a:path w="5760" h="4320">
                <a:moveTo>
                  <a:pt x="5760" y="0"/>
                </a:moveTo>
                <a:lnTo>
                  <a:pt x="5760" y="4320"/>
                </a:lnTo>
                <a:lnTo>
                  <a:pt x="0" y="432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643758" y="754987"/>
            <a:ext cx="6289177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195798" y="754987"/>
            <a:ext cx="2124000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197793" y="468476"/>
            <a:ext cx="52050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E911E817-735A-D147-ADC1-DB4196B19786}" type="slidenum">
              <a:rPr lang="en-US" sz="1050" smtClean="0">
                <a:solidFill>
                  <a:srgbClr val="FFFFFF"/>
                </a:solidFill>
              </a:rPr>
              <a:t>‹#›</a:t>
            </a:fld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0" y="6188075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auto">
          <a:xfrm>
            <a:off x="0" y="6076950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1" name="Rectangle 13"/>
          <p:cNvSpPr>
            <a:spLocks noChangeArrowheads="1"/>
          </p:cNvSpPr>
          <p:nvPr userDrawn="1"/>
        </p:nvSpPr>
        <p:spPr bwMode="auto">
          <a:xfrm>
            <a:off x="7988299" y="6188075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22" name="Picture 21" descr="fla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807" y="6367793"/>
            <a:ext cx="1405436" cy="284400"/>
          </a:xfrm>
          <a:prstGeom prst="rect">
            <a:avLst/>
          </a:prstGeom>
        </p:spPr>
      </p:pic>
      <p:pic>
        <p:nvPicPr>
          <p:cNvPr id="23" name="Picture 22" descr="Syngenta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6383646"/>
            <a:ext cx="845180" cy="237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265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189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exclai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952" y="1283157"/>
            <a:ext cx="1193472" cy="453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61419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42732" y="1288713"/>
            <a:ext cx="6289162" cy="4614112"/>
          </a:xfrm>
        </p:spPr>
        <p:txBody>
          <a:bodyPr/>
          <a:lstStyle>
            <a:lvl1pPr marL="0" indent="0">
              <a:buFontTx/>
              <a:buNone/>
              <a:defRPr sz="2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197793" y="1343025"/>
            <a:ext cx="2165308" cy="4570413"/>
          </a:xfrm>
        </p:spPr>
        <p:txBody>
          <a:bodyPr/>
          <a:lstStyle>
            <a:lvl1pPr marL="0" indent="0">
              <a:buNone/>
              <a:defRPr sz="1800" i="0">
                <a:solidFill>
                  <a:schemeClr val="accent3"/>
                </a:solidFill>
              </a:defRPr>
            </a:lvl1pPr>
            <a:lvl2pPr marL="176213" indent="-176213">
              <a:defRPr sz="1800" i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6175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197793" y="1343025"/>
            <a:ext cx="2165308" cy="4570413"/>
          </a:xfrm>
        </p:spPr>
        <p:txBody>
          <a:bodyPr/>
          <a:lstStyle>
            <a:lvl1pPr marL="0" indent="0">
              <a:buNone/>
              <a:defRPr sz="1800" i="1">
                <a:solidFill>
                  <a:schemeClr val="accent3"/>
                </a:solidFill>
              </a:defRPr>
            </a:lvl1pPr>
            <a:lvl2pPr marL="0" indent="0">
              <a:buFontTx/>
              <a:buNone/>
              <a:defRPr sz="1800" i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2644775" y="1342971"/>
            <a:ext cx="6286500" cy="457046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5249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6188075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0" y="6076950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7988299" y="6188075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15" name="Picture 14" descr="fla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807" y="6367793"/>
            <a:ext cx="1405436" cy="284400"/>
          </a:xfrm>
          <a:prstGeom prst="rect">
            <a:avLst/>
          </a:prstGeom>
        </p:spPr>
      </p:pic>
      <p:pic>
        <p:nvPicPr>
          <p:cNvPr id="16" name="Picture 15" descr="Syngenta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6383646"/>
            <a:ext cx="845180" cy="23796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6080" y="0"/>
            <a:ext cx="7349319" cy="1143000"/>
          </a:xfrm>
        </p:spPr>
        <p:txBody>
          <a:bodyPr anchor="t"/>
          <a:lstStyle/>
          <a:p>
            <a:r>
              <a:rPr lang="es-ES" dirty="0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621D275-BA21-4B8F-909C-675DB7E36E07}" type="datetime1">
              <a:rPr lang="en-US" smtClean="0"/>
              <a:t>11/22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0B3D12D-DB74-4039-A146-DE56F5870EA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6418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7430593-0F4F-4126-909B-601F0A5AB19E}" type="datetime1">
              <a:rPr lang="en-US" smtClean="0"/>
              <a:t>11/22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B83AC7D-AC18-4131-974B-0FAD2DA6710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558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background">
    <p:bg>
      <p:bgPr>
        <a:solidFill>
          <a:srgbClr val="6332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8" name="Picture 25" descr="E:\Docs\Documents\WORK\Current jobs\Syngenta\Job Ref 854 - Powerpoint Template\Artwork\hOOK-OVERLAY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39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-5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986713" y="1168400"/>
            <a:ext cx="1116012" cy="551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249" y="84295"/>
            <a:ext cx="3997491" cy="1470025"/>
          </a:xfrm>
        </p:spPr>
        <p:txBody>
          <a:bodyPr anchor="b" anchorCtr="0">
            <a:noAutofit/>
          </a:bodyPr>
          <a:lstStyle>
            <a:lvl1pPr algn="l">
              <a:lnSpc>
                <a:spcPts val="3700"/>
              </a:lnSpc>
              <a:defRPr sz="4000" b="0" i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249" y="1559851"/>
            <a:ext cx="3997492" cy="567812"/>
          </a:xfrm>
        </p:spPr>
        <p:txBody>
          <a:bodyPr>
            <a:noAutofit/>
          </a:bodyPr>
          <a:lstStyle>
            <a:lvl1pPr marL="0" indent="0" algn="l">
              <a:buNone/>
              <a:defRPr sz="24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740391" y="6611320"/>
            <a:ext cx="184419" cy="1533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600" dirty="0" smtClean="0">
                <a:solidFill>
                  <a:srgbClr val="FFFFFF"/>
                </a:solidFill>
                <a:latin typeface="+mj-lt"/>
                <a:cs typeface="Baskerville"/>
              </a:rPr>
              <a:t>TM</a:t>
            </a:r>
          </a:p>
        </p:txBody>
      </p:sp>
      <p:pic>
        <p:nvPicPr>
          <p:cNvPr id="4" name="Picture 3" descr="sun_cropped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767" y="2478926"/>
            <a:ext cx="5812368" cy="2825456"/>
          </a:xfrm>
          <a:prstGeom prst="rect">
            <a:avLst/>
          </a:prstGeom>
        </p:spPr>
      </p:pic>
      <p:sp>
        <p:nvSpPr>
          <p:cNvPr id="22" name="Rectangle 14"/>
          <p:cNvSpPr>
            <a:spLocks noChangeArrowheads="1"/>
          </p:cNvSpPr>
          <p:nvPr userDrawn="1"/>
        </p:nvSpPr>
        <p:spPr bwMode="auto">
          <a:xfrm>
            <a:off x="0" y="5408613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auto">
          <a:xfrm>
            <a:off x="0" y="5297488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4" name="Rectangle 13"/>
          <p:cNvSpPr>
            <a:spLocks noChangeArrowheads="1"/>
          </p:cNvSpPr>
          <p:nvPr userDrawn="1"/>
        </p:nvSpPr>
        <p:spPr bwMode="auto">
          <a:xfrm>
            <a:off x="7988299" y="5408613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26" name="Picture 25" descr="Syngenta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5621644"/>
            <a:ext cx="845180" cy="237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8325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AA3DD6A-26D2-4DA6-94CD-2D0B648A997F}" type="datetime1">
              <a:rPr lang="en-US" smtClean="0"/>
              <a:t>11/22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DB909E5-14C7-4159-AA25-EEFFEFA85DF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87067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ftr" sz="quarter" idx="10"/>
          </p:nvPr>
        </p:nvSpPr>
        <p:spPr>
          <a:xfrm>
            <a:off x="817563" y="6481763"/>
            <a:ext cx="5753100" cy="3762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15559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2271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5759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4539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309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4399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0793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6159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793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ark background">
    <p:bg>
      <p:bgPr>
        <a:solidFill>
          <a:srgbClr val="00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8" name="Picture 25" descr="E:\Docs\Documents\WORK\Current jobs\Syngenta\Job Ref 854 - Powerpoint Template\Artwork\hOOK-OVERLAY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39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-5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986713" y="1168400"/>
            <a:ext cx="1116012" cy="551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249" y="84295"/>
            <a:ext cx="3997491" cy="1470025"/>
          </a:xfrm>
        </p:spPr>
        <p:txBody>
          <a:bodyPr anchor="b" anchorCtr="0">
            <a:noAutofit/>
          </a:bodyPr>
          <a:lstStyle>
            <a:lvl1pPr algn="l">
              <a:lnSpc>
                <a:spcPts val="3700"/>
              </a:lnSpc>
              <a:defRPr sz="4000" b="0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249" y="1559851"/>
            <a:ext cx="3997492" cy="567812"/>
          </a:xfrm>
        </p:spPr>
        <p:txBody>
          <a:bodyPr>
            <a:noAutofit/>
          </a:bodyPr>
          <a:lstStyle>
            <a:lvl1pPr marL="0" indent="0" algn="l">
              <a:buNone/>
              <a:defRPr sz="24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740391" y="6611320"/>
            <a:ext cx="184419" cy="1533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600" dirty="0" smtClean="0">
                <a:solidFill>
                  <a:srgbClr val="FFFFFF"/>
                </a:solidFill>
                <a:latin typeface="+mj-lt"/>
                <a:cs typeface="Baskerville"/>
              </a:rPr>
              <a:t>TM</a:t>
            </a:r>
          </a:p>
        </p:txBody>
      </p:sp>
      <p:pic>
        <p:nvPicPr>
          <p:cNvPr id="4" name="Picture 3" descr="flowerwhit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9134" y="1560446"/>
            <a:ext cx="2584532" cy="3724408"/>
          </a:xfrm>
          <a:prstGeom prst="rect">
            <a:avLst/>
          </a:prstGeom>
        </p:spPr>
      </p:pic>
      <p:sp>
        <p:nvSpPr>
          <p:cNvPr id="20" name="Rectangle 14"/>
          <p:cNvSpPr>
            <a:spLocks noChangeArrowheads="1"/>
          </p:cNvSpPr>
          <p:nvPr userDrawn="1"/>
        </p:nvSpPr>
        <p:spPr bwMode="auto">
          <a:xfrm>
            <a:off x="0" y="5408613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1" name="Rectangle 15"/>
          <p:cNvSpPr>
            <a:spLocks noChangeArrowheads="1"/>
          </p:cNvSpPr>
          <p:nvPr userDrawn="1"/>
        </p:nvSpPr>
        <p:spPr bwMode="auto">
          <a:xfrm>
            <a:off x="0" y="5297488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2" name="Rectangle 13"/>
          <p:cNvSpPr>
            <a:spLocks noChangeArrowheads="1"/>
          </p:cNvSpPr>
          <p:nvPr userDrawn="1"/>
        </p:nvSpPr>
        <p:spPr bwMode="auto">
          <a:xfrm>
            <a:off x="7988299" y="5408613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24" name="Picture 23" descr="Syngenta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5621644"/>
            <a:ext cx="845180" cy="23796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6275" y="5493513"/>
            <a:ext cx="1246758" cy="494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41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1984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9683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165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Dark background">
    <p:bg>
      <p:bgPr>
        <a:solidFill>
          <a:srgbClr val="3C10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8" name="Picture 25" descr="E:\Docs\Documents\WORK\Current jobs\Syngenta\Job Ref 854 - Powerpoint Template\Artwork\hOOK-OVERLAY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prstClr val="black"/>
              <a:schemeClr val="accent4">
                <a:tint val="45000"/>
                <a:satMod val="400000"/>
              </a:schemeClr>
            </a:duotone>
            <a:alphaModFix amt="39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-5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986713" y="1168400"/>
            <a:ext cx="1116012" cy="551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249" y="84295"/>
            <a:ext cx="3997491" cy="1470025"/>
          </a:xfrm>
        </p:spPr>
        <p:txBody>
          <a:bodyPr anchor="b" anchorCtr="0">
            <a:noAutofit/>
          </a:bodyPr>
          <a:lstStyle>
            <a:lvl1pPr algn="l">
              <a:lnSpc>
                <a:spcPts val="3700"/>
              </a:lnSpc>
              <a:defRPr sz="4000" b="0" i="0">
                <a:solidFill>
                  <a:srgbClr val="AC145A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249" y="1559851"/>
            <a:ext cx="3997492" cy="567812"/>
          </a:xfrm>
        </p:spPr>
        <p:txBody>
          <a:bodyPr>
            <a:noAutofit/>
          </a:bodyPr>
          <a:lstStyle>
            <a:lvl1pPr marL="0" indent="0" algn="l">
              <a:buNone/>
              <a:defRPr sz="24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740391" y="6611320"/>
            <a:ext cx="184419" cy="1533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600" dirty="0" smtClean="0">
                <a:solidFill>
                  <a:srgbClr val="FFFFFF"/>
                </a:solidFill>
                <a:latin typeface="+mj-lt"/>
                <a:cs typeface="Baskerville"/>
              </a:rPr>
              <a:t>TM</a:t>
            </a:r>
          </a:p>
        </p:txBody>
      </p:sp>
      <p:pic>
        <p:nvPicPr>
          <p:cNvPr id="5" name="Picture 4" descr="flowers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8246" y="971272"/>
            <a:ext cx="3481719" cy="3829331"/>
          </a:xfrm>
          <a:prstGeom prst="rect">
            <a:avLst/>
          </a:prstGeom>
        </p:spPr>
      </p:pic>
      <p:sp>
        <p:nvSpPr>
          <p:cNvPr id="20" name="Rectangle 14"/>
          <p:cNvSpPr>
            <a:spLocks noChangeArrowheads="1"/>
          </p:cNvSpPr>
          <p:nvPr userDrawn="1"/>
        </p:nvSpPr>
        <p:spPr bwMode="auto">
          <a:xfrm>
            <a:off x="0" y="5408613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1" name="Rectangle 15"/>
          <p:cNvSpPr>
            <a:spLocks noChangeArrowheads="1"/>
          </p:cNvSpPr>
          <p:nvPr userDrawn="1"/>
        </p:nvSpPr>
        <p:spPr bwMode="auto">
          <a:xfrm>
            <a:off x="0" y="5297488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2" name="Rectangle 13"/>
          <p:cNvSpPr>
            <a:spLocks noChangeArrowheads="1"/>
          </p:cNvSpPr>
          <p:nvPr userDrawn="1"/>
        </p:nvSpPr>
        <p:spPr bwMode="auto">
          <a:xfrm>
            <a:off x="7988299" y="5408613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24" name="Picture 23" descr="Syngenta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5621644"/>
            <a:ext cx="845180" cy="23796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113" y="5484761"/>
            <a:ext cx="1497898" cy="5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226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rgbClr val="2017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249" y="84295"/>
            <a:ext cx="3997491" cy="1470025"/>
          </a:xfrm>
        </p:spPr>
        <p:txBody>
          <a:bodyPr anchor="b" anchorCtr="0">
            <a:noAutofit/>
          </a:bodyPr>
          <a:lstStyle>
            <a:lvl1pPr algn="l">
              <a:lnSpc>
                <a:spcPts val="3700"/>
              </a:lnSpc>
              <a:defRPr sz="4000" b="0" i="0">
                <a:solidFill>
                  <a:srgbClr val="AC145A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249" y="1559851"/>
            <a:ext cx="3997492" cy="567812"/>
          </a:xfrm>
        </p:spPr>
        <p:txBody>
          <a:bodyPr>
            <a:noAutofit/>
          </a:bodyPr>
          <a:lstStyle>
            <a:lvl1pPr marL="0" indent="0" algn="l">
              <a:buNone/>
              <a:defRPr sz="24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 descr="moth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750" y="862593"/>
            <a:ext cx="3625851" cy="3855456"/>
          </a:xfrm>
          <a:prstGeom prst="rect">
            <a:avLst/>
          </a:prstGeom>
        </p:spPr>
      </p:pic>
      <p:sp>
        <p:nvSpPr>
          <p:cNvPr id="22" name="Rectangle 21"/>
          <p:cNvSpPr>
            <a:spLocks noChangeArrowheads="1"/>
          </p:cNvSpPr>
          <p:nvPr userDrawn="1"/>
        </p:nvSpPr>
        <p:spPr bwMode="auto">
          <a:xfrm>
            <a:off x="0" y="6188075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3" name="Rectangle 22"/>
          <p:cNvSpPr>
            <a:spLocks noChangeArrowheads="1"/>
          </p:cNvSpPr>
          <p:nvPr userDrawn="1"/>
        </p:nvSpPr>
        <p:spPr bwMode="auto">
          <a:xfrm>
            <a:off x="0" y="6076950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4" name="Rectangle 13"/>
          <p:cNvSpPr>
            <a:spLocks noChangeArrowheads="1"/>
          </p:cNvSpPr>
          <p:nvPr userDrawn="1"/>
        </p:nvSpPr>
        <p:spPr bwMode="auto">
          <a:xfrm>
            <a:off x="7988299" y="6188075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25" name="Picture 24" descr="fla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807" y="6367793"/>
            <a:ext cx="1405436" cy="284400"/>
          </a:xfrm>
          <a:prstGeom prst="rect">
            <a:avLst/>
          </a:prstGeom>
        </p:spPr>
      </p:pic>
      <p:pic>
        <p:nvPicPr>
          <p:cNvPr id="26" name="Picture 25" descr="Syngenta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6383646"/>
            <a:ext cx="845180" cy="237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311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rgbClr val="3C10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249" y="84295"/>
            <a:ext cx="7800418" cy="1470025"/>
          </a:xfrm>
        </p:spPr>
        <p:txBody>
          <a:bodyPr anchor="b" anchorCtr="0">
            <a:noAutofit/>
          </a:bodyPr>
          <a:lstStyle>
            <a:lvl1pPr algn="l">
              <a:lnSpc>
                <a:spcPts val="3700"/>
              </a:lnSpc>
              <a:defRPr sz="4000" b="0" i="0">
                <a:solidFill>
                  <a:srgbClr val="AC145A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248" y="1559851"/>
            <a:ext cx="7800419" cy="567812"/>
          </a:xfrm>
        </p:spPr>
        <p:txBody>
          <a:bodyPr>
            <a:noAutofit/>
          </a:bodyPr>
          <a:lstStyle>
            <a:lvl1pPr marL="0" indent="0" algn="l">
              <a:buNone/>
              <a:defRPr sz="24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 descr="pea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18504"/>
            <a:ext cx="9144000" cy="3655071"/>
          </a:xfrm>
          <a:prstGeom prst="rect">
            <a:avLst/>
          </a:prstGeom>
        </p:spPr>
      </p:pic>
      <p:sp>
        <p:nvSpPr>
          <p:cNvPr id="21" name="Rectangle 20"/>
          <p:cNvSpPr>
            <a:spLocks noChangeArrowheads="1"/>
          </p:cNvSpPr>
          <p:nvPr userDrawn="1"/>
        </p:nvSpPr>
        <p:spPr bwMode="auto">
          <a:xfrm>
            <a:off x="0" y="6188075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2" name="Rectangle 21"/>
          <p:cNvSpPr>
            <a:spLocks noChangeArrowheads="1"/>
          </p:cNvSpPr>
          <p:nvPr userDrawn="1"/>
        </p:nvSpPr>
        <p:spPr bwMode="auto">
          <a:xfrm>
            <a:off x="0" y="6076950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3" name="Rectangle 13"/>
          <p:cNvSpPr>
            <a:spLocks noChangeArrowheads="1"/>
          </p:cNvSpPr>
          <p:nvPr userDrawn="1"/>
        </p:nvSpPr>
        <p:spPr bwMode="auto">
          <a:xfrm>
            <a:off x="7988299" y="6188075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24" name="Picture 23" descr="fla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807" y="6367793"/>
            <a:ext cx="1405436" cy="284400"/>
          </a:xfrm>
          <a:prstGeom prst="rect">
            <a:avLst/>
          </a:prstGeom>
        </p:spPr>
      </p:pic>
      <p:pic>
        <p:nvPicPr>
          <p:cNvPr id="25" name="Picture 24" descr="Syngenta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6383646"/>
            <a:ext cx="845180" cy="237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956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with tex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wmh flowers april 12 midnight comp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35" y="23"/>
            <a:ext cx="8496300" cy="601259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249" y="3726675"/>
            <a:ext cx="6672894" cy="1470025"/>
          </a:xfrm>
        </p:spPr>
        <p:txBody>
          <a:bodyPr anchor="b" anchorCtr="0">
            <a:noAutofit/>
          </a:bodyPr>
          <a:lstStyle>
            <a:lvl1pPr algn="l">
              <a:lnSpc>
                <a:spcPts val="3700"/>
              </a:lnSpc>
              <a:defRPr sz="4000" b="0" i="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249" y="5181410"/>
            <a:ext cx="6672896" cy="567812"/>
          </a:xfrm>
        </p:spPr>
        <p:txBody>
          <a:bodyPr>
            <a:noAutofit/>
          </a:bodyPr>
          <a:lstStyle>
            <a:lvl1pPr marL="0" indent="0" algn="l">
              <a:buNone/>
              <a:defRPr sz="1800" cap="none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auto">
          <a:xfrm>
            <a:off x="0" y="6188075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0" y="6076950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8" name="Rectangle 13"/>
          <p:cNvSpPr>
            <a:spLocks noChangeArrowheads="1"/>
          </p:cNvSpPr>
          <p:nvPr userDrawn="1"/>
        </p:nvSpPr>
        <p:spPr bwMode="auto">
          <a:xfrm>
            <a:off x="7988299" y="6188075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19" name="Picture 18" descr="fla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807" y="6367793"/>
            <a:ext cx="1405436" cy="284400"/>
          </a:xfrm>
          <a:prstGeom prst="rect">
            <a:avLst/>
          </a:prstGeom>
        </p:spPr>
      </p:pic>
      <p:pic>
        <p:nvPicPr>
          <p:cNvPr id="20" name="Picture 19" descr="Syngenta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6383646"/>
            <a:ext cx="845180" cy="237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888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6249" y="3726675"/>
            <a:ext cx="6672894" cy="1470025"/>
          </a:xfrm>
        </p:spPr>
        <p:txBody>
          <a:bodyPr anchor="b" anchorCtr="0">
            <a:noAutofit/>
          </a:bodyPr>
          <a:lstStyle>
            <a:lvl1pPr algn="l">
              <a:lnSpc>
                <a:spcPts val="3700"/>
              </a:lnSpc>
              <a:defRPr sz="4000" b="0" i="0">
                <a:solidFill>
                  <a:srgbClr val="00843D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6249" y="5181410"/>
            <a:ext cx="6672896" cy="567812"/>
          </a:xfrm>
        </p:spPr>
        <p:txBody>
          <a:bodyPr>
            <a:noAutofit/>
          </a:bodyPr>
          <a:lstStyle>
            <a:lvl1pPr marL="0" indent="0" algn="l">
              <a:buNone/>
              <a:defRPr sz="1800" cap="none">
                <a:solidFill>
                  <a:srgbClr val="2D292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5" name="Picture 4" descr="gras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97" y="-93137"/>
            <a:ext cx="7711736" cy="3888000"/>
          </a:xfrm>
          <a:prstGeom prst="rect">
            <a:avLst/>
          </a:prstGeom>
        </p:spPr>
      </p:pic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0" y="6188075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0" y="6076950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9" name="Rectangle 13"/>
          <p:cNvSpPr>
            <a:spLocks noChangeArrowheads="1"/>
          </p:cNvSpPr>
          <p:nvPr userDrawn="1"/>
        </p:nvSpPr>
        <p:spPr bwMode="auto">
          <a:xfrm>
            <a:off x="7988299" y="6188075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20" name="Picture 19" descr="fla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807" y="6367793"/>
            <a:ext cx="1405436" cy="284400"/>
          </a:xfrm>
          <a:prstGeom prst="rect">
            <a:avLst/>
          </a:prstGeom>
        </p:spPr>
      </p:pic>
      <p:pic>
        <p:nvPicPr>
          <p:cNvPr id="21" name="Picture 20" descr="Syngenta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6383646"/>
            <a:ext cx="845180" cy="237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4908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7986713" y="0"/>
            <a:ext cx="115728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34074" y="77955"/>
            <a:ext cx="4705069" cy="1470025"/>
          </a:xfrm>
        </p:spPr>
        <p:txBody>
          <a:bodyPr anchor="b" anchorCtr="0">
            <a:noAutofit/>
          </a:bodyPr>
          <a:lstStyle>
            <a:lvl1pPr algn="l">
              <a:lnSpc>
                <a:spcPts val="3700"/>
              </a:lnSpc>
              <a:defRPr sz="4000" b="0" i="0">
                <a:solidFill>
                  <a:srgbClr val="00843D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34075" y="1542096"/>
            <a:ext cx="4705070" cy="997903"/>
          </a:xfrm>
        </p:spPr>
        <p:txBody>
          <a:bodyPr>
            <a:noAutofit/>
          </a:bodyPr>
          <a:lstStyle>
            <a:lvl1pPr marL="0" indent="0" algn="l">
              <a:buNone/>
              <a:defRPr sz="1800" cap="none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5" name="Picture 4" descr="tulip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132" y="-12700"/>
            <a:ext cx="1991922" cy="4392000"/>
          </a:xfrm>
          <a:prstGeom prst="rect">
            <a:avLst/>
          </a:prstGeom>
        </p:spPr>
      </p:pic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0" y="6188075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0" y="6076950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19" name="Rectangle 13"/>
          <p:cNvSpPr>
            <a:spLocks noChangeArrowheads="1"/>
          </p:cNvSpPr>
          <p:nvPr userDrawn="1"/>
        </p:nvSpPr>
        <p:spPr bwMode="auto">
          <a:xfrm>
            <a:off x="7988299" y="6188075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20" name="Picture 19" descr="fla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807" y="6367793"/>
            <a:ext cx="1405436" cy="284400"/>
          </a:xfrm>
          <a:prstGeom prst="rect">
            <a:avLst/>
          </a:prstGeom>
        </p:spPr>
      </p:pic>
      <p:pic>
        <p:nvPicPr>
          <p:cNvPr id="21" name="Picture 20" descr="Syngenta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6383646"/>
            <a:ext cx="845180" cy="237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4796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1577942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642732" y="213166"/>
            <a:ext cx="6289162" cy="531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642732" y="1340768"/>
            <a:ext cx="6289162" cy="4572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2077" name="Freeform 29"/>
          <p:cNvSpPr>
            <a:spLocks/>
          </p:cNvSpPr>
          <p:nvPr/>
        </p:nvSpPr>
        <p:spPr bwMode="auto">
          <a:xfrm>
            <a:off x="0" y="0"/>
            <a:ext cx="9144000" cy="6858000"/>
          </a:xfrm>
          <a:custGeom>
            <a:avLst/>
            <a:gdLst/>
            <a:ahLst/>
            <a:cxnLst>
              <a:cxn ang="0">
                <a:pos x="5760" y="0"/>
              </a:cxn>
              <a:cxn ang="0">
                <a:pos x="5760" y="4320"/>
              </a:cxn>
              <a:cxn ang="0">
                <a:pos x="0" y="4320"/>
              </a:cxn>
              <a:cxn ang="0">
                <a:pos x="0" y="0"/>
              </a:cxn>
            </a:cxnLst>
            <a:rect l="0" t="0" r="r" b="b"/>
            <a:pathLst>
              <a:path w="5760" h="4320">
                <a:moveTo>
                  <a:pt x="5760" y="0"/>
                </a:moveTo>
                <a:lnTo>
                  <a:pt x="5760" y="4320"/>
                </a:lnTo>
                <a:lnTo>
                  <a:pt x="0" y="432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643758" y="754987"/>
            <a:ext cx="6289177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195798" y="754987"/>
            <a:ext cx="2124000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197793" y="468476"/>
            <a:ext cx="52050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fld id="{E911E817-735A-D147-ADC1-DB4196B19786}" type="slidenum">
              <a:rPr lang="en-US" sz="1050" smtClean="0">
                <a:solidFill>
                  <a:schemeClr val="accent3"/>
                </a:solidFill>
              </a:rPr>
              <a:t>‹#›</a:t>
            </a:fld>
            <a:endParaRPr lang="en-US" sz="1050" dirty="0">
              <a:solidFill>
                <a:schemeClr val="accent3"/>
              </a:solidFill>
            </a:endParaRPr>
          </a:p>
        </p:txBody>
      </p:sp>
      <p:sp>
        <p:nvSpPr>
          <p:cNvPr id="24" name="Rectangle 23"/>
          <p:cNvSpPr>
            <a:spLocks noChangeArrowheads="1"/>
          </p:cNvSpPr>
          <p:nvPr userDrawn="1"/>
        </p:nvSpPr>
        <p:spPr bwMode="auto">
          <a:xfrm>
            <a:off x="0" y="6188075"/>
            <a:ext cx="7986713" cy="6699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5" name="Rectangle 24"/>
          <p:cNvSpPr>
            <a:spLocks noChangeArrowheads="1"/>
          </p:cNvSpPr>
          <p:nvPr userDrawn="1"/>
        </p:nvSpPr>
        <p:spPr bwMode="auto">
          <a:xfrm>
            <a:off x="0" y="6076950"/>
            <a:ext cx="9144000" cy="111125"/>
          </a:xfrm>
          <a:prstGeom prst="rect">
            <a:avLst/>
          </a:prstGeom>
          <a:solidFill>
            <a:srgbClr val="AC145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26" name="Rectangle 13"/>
          <p:cNvSpPr>
            <a:spLocks noChangeArrowheads="1"/>
          </p:cNvSpPr>
          <p:nvPr userDrawn="1"/>
        </p:nvSpPr>
        <p:spPr bwMode="auto">
          <a:xfrm>
            <a:off x="7988299" y="6188075"/>
            <a:ext cx="1155701" cy="66992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black"/>
              </a:solidFill>
              <a:latin typeface="+mn-lt"/>
              <a:cs typeface="+mn-cs"/>
            </a:endParaRPr>
          </a:p>
        </p:txBody>
      </p:sp>
      <p:pic>
        <p:nvPicPr>
          <p:cNvPr id="28" name="Picture 27" descr="Syngenta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74" y="6383646"/>
            <a:ext cx="845180" cy="23796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358" y="6226148"/>
            <a:ext cx="1497898" cy="59377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7" r:id="rId3"/>
    <p:sldLayoutId id="2147483700" r:id="rId4"/>
    <p:sldLayoutId id="2147483692" r:id="rId5"/>
    <p:sldLayoutId id="2147483696" r:id="rId6"/>
    <p:sldLayoutId id="2147483693" r:id="rId7"/>
    <p:sldLayoutId id="2147483698" r:id="rId8"/>
    <p:sldLayoutId id="2147483695" r:id="rId9"/>
    <p:sldLayoutId id="2147483684" r:id="rId10"/>
    <p:sldLayoutId id="2147483699" r:id="rId11"/>
    <p:sldLayoutId id="2147483717" r:id="rId12"/>
    <p:sldLayoutId id="2147483701" r:id="rId13"/>
    <p:sldLayoutId id="2147483691" r:id="rId14"/>
    <p:sldLayoutId id="2147483694" r:id="rId15"/>
    <p:sldLayoutId id="2147483687" r:id="rId16"/>
    <p:sldLayoutId id="2147483688" r:id="rId17"/>
    <p:sldLayoutId id="2147483702" r:id="rId18"/>
    <p:sldLayoutId id="2147483703" r:id="rId19"/>
    <p:sldLayoutId id="2147483704" r:id="rId20"/>
    <p:sldLayoutId id="2147483718" r:id="rId2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200" b="0" i="0" kern="1200" cap="all">
          <a:solidFill>
            <a:srgbClr val="AC145A"/>
          </a:solidFill>
          <a:latin typeface="Bauer Bodoni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000" kern="1200">
          <a:solidFill>
            <a:schemeClr val="tx1"/>
          </a:solidFill>
          <a:latin typeface="Baskerville"/>
          <a:ea typeface="+mn-ea"/>
          <a:cs typeface="+mn-cs"/>
        </a:defRPr>
      </a:lvl1pPr>
      <a:lvl2pPr marL="447675" indent="-2714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/>
        <a:buChar char="•"/>
        <a:defRPr kern="1200">
          <a:solidFill>
            <a:schemeClr val="tx1"/>
          </a:solidFill>
          <a:latin typeface="Baskerville"/>
          <a:ea typeface="+mn-ea"/>
          <a:cs typeface="+mn-cs"/>
        </a:defRPr>
      </a:lvl2pPr>
      <a:lvl3pPr marL="623888" indent="-17621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Baskerville"/>
          <a:ea typeface="+mn-ea"/>
          <a:cs typeface="+mn-cs"/>
        </a:defRPr>
      </a:lvl3pPr>
      <a:lvl4pPr marL="801688" indent="-1778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/>
        <a:buChar char="•"/>
        <a:defRPr sz="1400" kern="1200">
          <a:solidFill>
            <a:schemeClr val="tx1"/>
          </a:solidFill>
          <a:latin typeface="Baskerville"/>
          <a:ea typeface="+mn-ea"/>
          <a:cs typeface="+mn-cs"/>
        </a:defRPr>
      </a:lvl4pPr>
      <a:lvl5pPr marL="989013" indent="-1873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/>
        <a:buChar char="•"/>
        <a:defRPr sz="1400" kern="1200">
          <a:solidFill>
            <a:schemeClr val="tx1"/>
          </a:solidFill>
          <a:latin typeface="Baskerville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C6BE79-6913-4F84-8683-4CA98ACCC1CD}" type="datetimeFigureOut">
              <a:rPr lang="en-US" smtClean="0"/>
              <a:t>11/2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BE1919-1A4A-4AC1-8A53-B6239535A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217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31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10.xml"/><Relationship Id="rId7" Type="http://schemas.openxmlformats.org/officeDocument/2006/relationships/chart" Target="../charts/char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emf"/><Relationship Id="rId11" Type="http://schemas.openxmlformats.org/officeDocument/2006/relationships/image" Target="../media/image33.jpe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32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0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36.jpe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0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slideLayout" Target="../slideLayouts/slideLayout18.xml"/><Relationship Id="rId2" Type="http://schemas.openxmlformats.org/officeDocument/2006/relationships/tags" Target="../tags/tag25.xml"/><Relationship Id="rId16" Type="http://schemas.openxmlformats.org/officeDocument/2006/relationships/image" Target="../media/image42.emf"/><Relationship Id="rId1" Type="http://schemas.openxmlformats.org/officeDocument/2006/relationships/vmlDrawing" Target="../drawings/vmlDrawing15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oleObject" Target="../embeddings/oleObject17.bin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21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8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2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2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0.xml"/><Relationship Id="rId9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Hicure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atural Power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174" y="5474957"/>
            <a:ext cx="1495018" cy="592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24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33649" y="0"/>
            <a:ext cx="6410325" cy="762000"/>
          </a:xfrm>
        </p:spPr>
        <p:txBody>
          <a:bodyPr/>
          <a:lstStyle/>
          <a:p>
            <a:r>
              <a:rPr lang="en-US" dirty="0" err="1" smtClean="0"/>
              <a:t>functies</a:t>
            </a:r>
            <a:r>
              <a:rPr lang="en-US" dirty="0" smtClean="0"/>
              <a:t> van </a:t>
            </a:r>
            <a:r>
              <a:rPr lang="en-US" dirty="0" err="1" smtClean="0"/>
              <a:t>aminozuren</a:t>
            </a:r>
            <a:r>
              <a:rPr lang="en-US" dirty="0" smtClean="0"/>
              <a:t> in </a:t>
            </a:r>
            <a:r>
              <a:rPr lang="en-US" dirty="0" err="1" smtClean="0"/>
              <a:t>plante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14324" y="1295399"/>
          <a:ext cx="8543925" cy="3476624"/>
        </p:xfrm>
        <a:graphic>
          <a:graphicData uri="http://schemas.openxmlformats.org/drawingml/2006/table">
            <a:tbl>
              <a:tblPr firstRow="1" bandRow="1" bandCol="1"/>
              <a:tblGrid>
                <a:gridCol w="4674158"/>
                <a:gridCol w="3869767"/>
              </a:tblGrid>
              <a:tr h="4345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err="1" smtClean="0">
                          <a:solidFill>
                            <a:srgbClr val="FFFFFF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Fysiologische</a:t>
                      </a:r>
                      <a:r>
                        <a:rPr lang="en-US" sz="2000" b="1" baseline="0" dirty="0" smtClean="0">
                          <a:solidFill>
                            <a:srgbClr val="FFFFFF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b="1" dirty="0" err="1" smtClean="0">
                          <a:solidFill>
                            <a:srgbClr val="FFFFFF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functie</a:t>
                      </a:r>
                      <a:endParaRPr lang="en-US" sz="2000" dirty="0"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005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err="1" smtClean="0">
                          <a:solidFill>
                            <a:srgbClr val="FFFFFF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Gerelateerd</a:t>
                      </a:r>
                      <a:r>
                        <a:rPr lang="en-US" sz="2000" b="1" dirty="0" smtClean="0">
                          <a:solidFill>
                            <a:srgbClr val="FFFFFF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b="1" dirty="0" err="1" smtClean="0">
                          <a:solidFill>
                            <a:srgbClr val="FFFFFF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aminozuur</a:t>
                      </a:r>
                      <a:endParaRPr lang="en-US" sz="2000" dirty="0"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0058"/>
                    </a:solidFill>
                  </a:tcPr>
                </a:tc>
              </a:tr>
              <a:tr h="4345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Blad</a:t>
                      </a:r>
                      <a:r>
                        <a:rPr lang="en-US" sz="2000" b="0" i="0" dirty="0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 en </a:t>
                      </a:r>
                      <a:r>
                        <a:rPr lang="en-US" sz="2000" b="0" i="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knopgroei</a:t>
                      </a:r>
                      <a:endParaRPr lang="en-US" sz="2000" b="0" i="0" dirty="0"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accent1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Glyc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5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Regulering</a:t>
                      </a:r>
                      <a:r>
                        <a:rPr lang="en-US" sz="2000" b="0" i="0" baseline="0" dirty="0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b="0" i="0" baseline="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huidmondjes</a:t>
                      </a:r>
                      <a:endParaRPr lang="en-US" sz="2000" b="0" i="0" dirty="0"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err="1">
                          <a:solidFill>
                            <a:srgbClr val="C00000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Proline</a:t>
                      </a:r>
                      <a:endParaRPr lang="en-US" sz="2000" b="1" dirty="0">
                        <a:solidFill>
                          <a:srgbClr val="C00000"/>
                        </a:solidFill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5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Vorming</a:t>
                      </a:r>
                      <a:r>
                        <a:rPr lang="en-US" sz="2000" baseline="0" dirty="0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baseline="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celwand</a:t>
                      </a:r>
                      <a:endParaRPr lang="en-US" sz="2000" dirty="0"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err="1">
                          <a:solidFill>
                            <a:srgbClr val="C00000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Proline</a:t>
                      </a:r>
                      <a:r>
                        <a:rPr lang="en-US" sz="2000" dirty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, phenylalan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5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Chelaatvorming</a:t>
                      </a:r>
                      <a:r>
                        <a:rPr lang="en-US" sz="2000" baseline="0" dirty="0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baseline="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nutrienten</a:t>
                      </a:r>
                      <a:endParaRPr lang="en-US" sz="2000" dirty="0"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smtClean="0">
                          <a:solidFill>
                            <a:schemeClr val="accent1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Glycine</a:t>
                      </a:r>
                      <a:endParaRPr lang="en-US" sz="2000" b="1" dirty="0">
                        <a:solidFill>
                          <a:schemeClr val="accent1"/>
                        </a:solidFill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5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Waterhuishouding</a:t>
                      </a:r>
                      <a:endParaRPr lang="en-US" sz="2000" dirty="0"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err="1">
                          <a:solidFill>
                            <a:srgbClr val="C00000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Proline</a:t>
                      </a:r>
                      <a:r>
                        <a:rPr lang="en-US" sz="2000" dirty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, ser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5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Anti</a:t>
                      </a:r>
                      <a:r>
                        <a:rPr lang="en-US" sz="2000" baseline="0" dirty="0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2000" baseline="0" dirty="0" err="1" smtClean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verouderingseffect</a:t>
                      </a:r>
                      <a:endParaRPr lang="en-US" sz="2000" dirty="0">
                        <a:effectLst/>
                        <a:latin typeface="Baskervill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err="1">
                          <a:solidFill>
                            <a:srgbClr val="C00000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Proline</a:t>
                      </a:r>
                      <a:r>
                        <a:rPr lang="en-US" sz="2000" dirty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, arginine, methion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5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Systemic acquired resistance (SAR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accent1"/>
                          </a:solidFill>
                          <a:effectLst/>
                          <a:latin typeface="Baskerville"/>
                          <a:ea typeface="Calibri"/>
                          <a:cs typeface="Times New Roman"/>
                        </a:rPr>
                        <a:t>Glycine</a:t>
                      </a:r>
                      <a:r>
                        <a:rPr lang="en-US" sz="2000" dirty="0">
                          <a:effectLst/>
                          <a:latin typeface="Baskerville"/>
                          <a:ea typeface="Calibri"/>
                          <a:cs typeface="Times New Roman"/>
                        </a:rPr>
                        <a:t>, lysine, glutamic acid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14324" y="5057090"/>
            <a:ext cx="8543925" cy="70788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b="1" dirty="0" err="1" smtClean="0">
                <a:latin typeface="Baskerville"/>
              </a:rPr>
              <a:t>Hicure</a:t>
            </a:r>
            <a:r>
              <a:rPr lang="en-US" sz="2000" b="1" dirty="0" smtClean="0">
                <a:latin typeface="Baskerville"/>
              </a:rPr>
              <a:t> </a:t>
            </a:r>
            <a:r>
              <a:rPr lang="en-US" sz="2000" b="1" dirty="0" err="1" smtClean="0">
                <a:latin typeface="Baskerville"/>
              </a:rPr>
              <a:t>stimuleert</a:t>
            </a:r>
            <a:r>
              <a:rPr lang="en-US" sz="2000" b="1" dirty="0" smtClean="0">
                <a:latin typeface="Baskerville"/>
              </a:rPr>
              <a:t> </a:t>
            </a:r>
            <a:r>
              <a:rPr lang="en-US" sz="2000" b="1" dirty="0" err="1" smtClean="0">
                <a:latin typeface="Baskerville"/>
              </a:rPr>
              <a:t>planten</a:t>
            </a:r>
            <a:r>
              <a:rPr lang="en-US" sz="2000" b="1" dirty="0" smtClean="0">
                <a:latin typeface="Baskerville"/>
              </a:rPr>
              <a:t> </a:t>
            </a:r>
            <a:r>
              <a:rPr lang="en-US" sz="2000" b="1" dirty="0" err="1" smtClean="0">
                <a:latin typeface="Baskerville"/>
              </a:rPr>
              <a:t>tijdens</a:t>
            </a:r>
            <a:r>
              <a:rPr lang="en-US" sz="2000" b="1" dirty="0" smtClean="0">
                <a:latin typeface="Baskerville"/>
              </a:rPr>
              <a:t> </a:t>
            </a:r>
            <a:r>
              <a:rPr lang="en-US" sz="2000" b="1" dirty="0" err="1" smtClean="0">
                <a:latin typeface="Baskerville"/>
              </a:rPr>
              <a:t>cruciale</a:t>
            </a:r>
            <a:r>
              <a:rPr lang="en-US" sz="2000" b="1" dirty="0" smtClean="0">
                <a:latin typeface="Baskerville"/>
              </a:rPr>
              <a:t> </a:t>
            </a:r>
            <a:r>
              <a:rPr lang="en-US" sz="2000" b="1" dirty="0" err="1" smtClean="0">
                <a:latin typeface="Baskerville"/>
              </a:rPr>
              <a:t>fysiologische</a:t>
            </a:r>
            <a:r>
              <a:rPr lang="en-US" sz="2000" b="1" dirty="0" smtClean="0">
                <a:latin typeface="Baskerville"/>
              </a:rPr>
              <a:t> </a:t>
            </a:r>
            <a:r>
              <a:rPr lang="en-US" sz="2000" b="1" dirty="0" err="1" smtClean="0">
                <a:latin typeface="Baskerville"/>
              </a:rPr>
              <a:t>fasen</a:t>
            </a:r>
            <a:r>
              <a:rPr lang="en-US" sz="2000" b="1" dirty="0" smtClean="0">
                <a:latin typeface="Baskerville"/>
              </a:rPr>
              <a:t> en </a:t>
            </a:r>
            <a:r>
              <a:rPr lang="en-US" sz="2000" b="1" dirty="0" err="1" smtClean="0">
                <a:latin typeface="Baskerville"/>
              </a:rPr>
              <a:t>onder</a:t>
            </a:r>
            <a:r>
              <a:rPr lang="en-US" sz="2000" b="1" dirty="0" smtClean="0">
                <a:latin typeface="Baskerville"/>
              </a:rPr>
              <a:t> </a:t>
            </a:r>
            <a:r>
              <a:rPr lang="en-US" sz="2000" b="1" dirty="0" err="1" smtClean="0">
                <a:latin typeface="Baskerville"/>
              </a:rPr>
              <a:t>suboptimale</a:t>
            </a:r>
            <a:r>
              <a:rPr lang="en-US" sz="2000" b="1" dirty="0" smtClean="0">
                <a:latin typeface="Baskerville"/>
              </a:rPr>
              <a:t> </a:t>
            </a:r>
            <a:r>
              <a:rPr lang="en-US" sz="2000" b="1" dirty="0" err="1" smtClean="0">
                <a:latin typeface="Baskerville"/>
              </a:rPr>
              <a:t>teeltomstandigheden</a:t>
            </a:r>
            <a:endParaRPr lang="en-US" sz="2000" b="1" dirty="0">
              <a:latin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2674681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385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Isosceles Triangle 15"/>
          <p:cNvSpPr/>
          <p:nvPr/>
        </p:nvSpPr>
        <p:spPr>
          <a:xfrm>
            <a:off x="902527" y="1383478"/>
            <a:ext cx="6994565" cy="2155371"/>
          </a:xfrm>
          <a:prstGeom prst="triangle">
            <a:avLst>
              <a:gd name="adj" fmla="val 49617"/>
            </a:avLst>
          </a:prstGeom>
          <a:solidFill>
            <a:srgbClr val="F2A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6322" y="0"/>
            <a:ext cx="6279077" cy="77189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Your advantages / benefits with </a:t>
            </a:r>
            <a:r>
              <a:rPr lang="en-US" dirty="0" err="1" smtClean="0"/>
              <a:t>hicure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3351462" y="2956948"/>
            <a:ext cx="2108574" cy="938151"/>
          </a:xfrm>
          <a:prstGeom prst="roundRect">
            <a:avLst/>
          </a:prstGeom>
          <a:solidFill>
            <a:schemeClr val="bg1"/>
          </a:solidFill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>
            <a:off x="3013367" y="1129189"/>
            <a:ext cx="2784764" cy="1210246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CH" sz="1100" b="1" dirty="0" smtClean="0">
                <a:solidFill>
                  <a:schemeClr val="tx1"/>
                </a:solidFill>
                <a:latin typeface="Baskerville"/>
              </a:rPr>
              <a:t>Reliable product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Proven stress reduction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Improve vitality &amp; shelf life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Better roots development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Crop losses  reduction 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Increase yield </a:t>
            </a:r>
            <a:endParaRPr lang="en-US" sz="1100" dirty="0">
              <a:solidFill>
                <a:schemeClr val="tx1"/>
              </a:solidFill>
              <a:latin typeface="Baskerville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118757" y="2850071"/>
            <a:ext cx="2784764" cy="1151907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CH" sz="1100" b="1" dirty="0" smtClean="0">
                <a:solidFill>
                  <a:schemeClr val="tx1"/>
                </a:solidFill>
                <a:latin typeface="Baskerville"/>
              </a:rPr>
              <a:t>Flexible product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 smtClean="0">
                <a:solidFill>
                  <a:schemeClr val="tx1"/>
                </a:solidFill>
                <a:latin typeface="Baskerville"/>
              </a:rPr>
              <a:t>Easy uptake by the crops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 smtClean="0">
                <a:solidFill>
                  <a:schemeClr val="tx1"/>
                </a:solidFill>
                <a:latin typeface="Baskerville"/>
              </a:rPr>
              <a:t>Easy to apply 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 smtClean="0">
                <a:solidFill>
                  <a:schemeClr val="tx1"/>
                </a:solidFill>
                <a:latin typeface="Baskerville"/>
              </a:rPr>
              <a:t>Easy to tank mix with other products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 smtClean="0">
                <a:solidFill>
                  <a:schemeClr val="tx1"/>
                </a:solidFill>
                <a:latin typeface="Baskerville"/>
              </a:rPr>
              <a:t>Low dose rate application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6127673" y="2850072"/>
            <a:ext cx="2784764" cy="1151907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CH" sz="1100" b="1" dirty="0" smtClean="0">
                <a:solidFill>
                  <a:schemeClr val="tx1"/>
                </a:solidFill>
                <a:latin typeface="Baskerville"/>
              </a:rPr>
              <a:t>Natural product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Natural origin*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Safe to beneficials 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IPM compatible</a:t>
            </a:r>
          </a:p>
        </p:txBody>
      </p:sp>
      <p:cxnSp>
        <p:nvCxnSpPr>
          <p:cNvPr id="28" name="Straight Connector 27"/>
          <p:cNvCxnSpPr>
            <a:stCxn id="8" idx="2"/>
            <a:endCxn id="19" idx="0"/>
          </p:cNvCxnSpPr>
          <p:nvPr/>
        </p:nvCxnSpPr>
        <p:spPr>
          <a:xfrm flipH="1">
            <a:off x="4399809" y="3895099"/>
            <a:ext cx="5940" cy="540326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41562" y="5894469"/>
            <a:ext cx="224933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900" dirty="0" smtClean="0">
                <a:solidFill>
                  <a:srgbClr val="080808"/>
                </a:solidFill>
                <a:latin typeface="Baskerville"/>
              </a:rPr>
              <a:t>*Note: Natural origin </a:t>
            </a:r>
            <a:r>
              <a:rPr lang="de-CH" sz="900" u="sng" dirty="0" smtClean="0">
                <a:solidFill>
                  <a:srgbClr val="080808"/>
                </a:solidFill>
                <a:latin typeface="Baskerville"/>
              </a:rPr>
              <a:t>(</a:t>
            </a:r>
            <a:r>
              <a:rPr lang="de-CH" sz="900" u="sng" dirty="0">
                <a:solidFill>
                  <a:srgbClr val="080808"/>
                </a:solidFill>
                <a:latin typeface="Baskerville"/>
              </a:rPr>
              <a:t>acc. EU/354/2014)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8916" y="3036812"/>
            <a:ext cx="2023620" cy="802176"/>
          </a:xfrm>
          <a:prstGeom prst="rect">
            <a:avLst/>
          </a:prstGeom>
        </p:spPr>
      </p:pic>
      <p:sp>
        <p:nvSpPr>
          <p:cNvPr id="19" name="Rounded Rectangle 18"/>
          <p:cNvSpPr/>
          <p:nvPr/>
        </p:nvSpPr>
        <p:spPr>
          <a:xfrm>
            <a:off x="3007427" y="4435425"/>
            <a:ext cx="2784764" cy="1151907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CH" sz="1100" b="1" dirty="0">
                <a:solidFill>
                  <a:schemeClr val="tx1"/>
                </a:solidFill>
                <a:latin typeface="Baskerville"/>
              </a:rPr>
              <a:t>Ornamental </a:t>
            </a:r>
            <a:r>
              <a:rPr lang="de-CH" sz="1100" b="1" dirty="0" smtClean="0">
                <a:solidFill>
                  <a:schemeClr val="tx1"/>
                </a:solidFill>
                <a:latin typeface="Baskerville"/>
              </a:rPr>
              <a:t>product</a:t>
            </a:r>
            <a:endParaRPr lang="de-CH" sz="1100" dirty="0">
              <a:solidFill>
                <a:schemeClr val="tx1"/>
              </a:solidFill>
              <a:latin typeface="Baskerville"/>
            </a:endParaRP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Dedicated to ornamental growers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Orenamental product expertise 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de-CH" sz="1100" dirty="0">
                <a:solidFill>
                  <a:schemeClr val="tx1"/>
                </a:solidFill>
                <a:latin typeface="Baskerville"/>
              </a:rPr>
              <a:t>Highest concentration of Amino acid</a:t>
            </a:r>
          </a:p>
        </p:txBody>
      </p:sp>
    </p:spTree>
    <p:extLst>
      <p:ext uri="{BB962C8B-B14F-4D97-AF65-F5344CB8AC3E}">
        <p14:creationId xmlns:p14="http://schemas.microsoft.com/office/powerpoint/2010/main" val="3027167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326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vement quality &amp; shelf </a:t>
            </a:r>
            <a:r>
              <a:rPr lang="en-US" dirty="0"/>
              <a:t>life of your </a:t>
            </a:r>
            <a:r>
              <a:rPr lang="en-US" dirty="0" err="1"/>
              <a:t>cutflowers</a:t>
            </a:r>
            <a:r>
              <a:rPr lang="en-US" dirty="0"/>
              <a:t> 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660895551"/>
              </p:ext>
            </p:extLst>
          </p:nvPr>
        </p:nvGraphicFramePr>
        <p:xfrm>
          <a:off x="123753" y="1627515"/>
          <a:ext cx="3386344" cy="3641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Rounded Rectangle 1"/>
          <p:cNvSpPr/>
          <p:nvPr/>
        </p:nvSpPr>
        <p:spPr>
          <a:xfrm>
            <a:off x="6601628" y="1995055"/>
            <a:ext cx="2340490" cy="2885703"/>
          </a:xfrm>
          <a:prstGeom prst="roundRect">
            <a:avLst/>
          </a:prstGeom>
          <a:noFill/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err="1">
                <a:solidFill>
                  <a:schemeClr val="tx1"/>
                </a:solidFill>
                <a:latin typeface="Baskerville"/>
                <a:cs typeface="Baskerville"/>
              </a:rPr>
              <a:t>Hicure</a:t>
            </a:r>
            <a:r>
              <a:rPr lang="en-US" sz="1400" dirty="0">
                <a:solidFill>
                  <a:schemeClr val="tx1"/>
                </a:solidFill>
                <a:latin typeface="Baskerville"/>
                <a:cs typeface="Baskerville"/>
              </a:rPr>
              <a:t> can improve the quality and shelf life of cut flowers </a:t>
            </a:r>
            <a:endParaRPr lang="en-US" sz="1400" dirty="0" smtClean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Baskerville"/>
                <a:cs typeface="Baskerville"/>
              </a:rPr>
              <a:t>Increased shelf life  of 1,5 d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 smtClean="0">
                <a:solidFill>
                  <a:schemeClr val="tx1"/>
                </a:solidFill>
                <a:latin typeface="Baskerville"/>
                <a:cs typeface="Baskerville"/>
              </a:rPr>
              <a:t>12-18% less </a:t>
            </a:r>
            <a:r>
              <a:rPr lang="de-CH" sz="1400" dirty="0">
                <a:solidFill>
                  <a:schemeClr val="tx1"/>
                </a:solidFill>
                <a:latin typeface="Baskerville"/>
                <a:cs typeface="Baskerville"/>
              </a:rPr>
              <a:t>wilted </a:t>
            </a:r>
            <a:r>
              <a:rPr lang="de-CH" sz="1400" dirty="0" smtClean="0">
                <a:solidFill>
                  <a:schemeClr val="tx1"/>
                </a:solidFill>
                <a:latin typeface="Baskerville"/>
                <a:cs typeface="Baskerville"/>
              </a:rPr>
              <a:t>leav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555632" y="3291863"/>
            <a:ext cx="2619447" cy="31245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Baskerville"/>
                <a:cs typeface="Baskerville"/>
              </a:rPr>
              <a:t>Untreated</a:t>
            </a:r>
            <a:endParaRPr lang="en-US" sz="12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3062780" y="1010023"/>
            <a:ext cx="3538847" cy="2850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  <a:latin typeface="Baskerville"/>
                <a:cs typeface="Baskerville"/>
              </a:rPr>
              <a:t>Lisianthus</a:t>
            </a:r>
            <a:r>
              <a:rPr lang="en-US" sz="1200" dirty="0" smtClean="0">
                <a:solidFill>
                  <a:schemeClr val="tx1"/>
                </a:solidFill>
                <a:latin typeface="Baskerville"/>
                <a:cs typeface="Baskerville"/>
              </a:rPr>
              <a:t>*: 9 days at consumer phase</a:t>
            </a:r>
            <a:endParaRPr lang="en-US" sz="12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7705" y="1075338"/>
            <a:ext cx="207818" cy="15437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1200" dirty="0" smtClean="0">
                <a:latin typeface="Baskerville"/>
                <a:cs typeface="Baskerville"/>
              </a:rPr>
              <a:t>%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75657" y="463138"/>
            <a:ext cx="641268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dirty="0" err="1" smtClean="0">
              <a:latin typeface="Baskerville"/>
              <a:cs typeface="Baskerville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7705" y="5946113"/>
            <a:ext cx="2778826" cy="142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  <a:latin typeface="Baskerville"/>
                <a:cs typeface="Baskerville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 trials: Flora Holland</a:t>
            </a:r>
          </a:p>
        </p:txBody>
      </p:sp>
      <p:sp>
        <p:nvSpPr>
          <p:cNvPr id="17" name="Isosceles Triangle 16"/>
          <p:cNvSpPr/>
          <p:nvPr/>
        </p:nvSpPr>
        <p:spPr>
          <a:xfrm rot="5400000">
            <a:off x="5656095" y="3375748"/>
            <a:ext cx="1353789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458" name="Picture 2" descr="C:\Users\u835675\AppData\Local\Microsoft\Windows\Temporary Internet Files\Content.Outlook\O0WU1SOU\lisiathus 6-11 1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5633" y="1360816"/>
            <a:ext cx="2619447" cy="1964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4696" y="5611643"/>
            <a:ext cx="1035833" cy="410611"/>
          </a:xfrm>
          <a:prstGeom prst="rect">
            <a:avLst/>
          </a:prstGeom>
        </p:spPr>
      </p:pic>
      <p:pic>
        <p:nvPicPr>
          <p:cNvPr id="19459" name="Picture 3" descr="C:\Users\u835675\AppData\Local\Microsoft\Windows\Temporary Internet Files\Content.Outlook\O0WU1SOU\Lisianthus 6-11 19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0146" y="3604317"/>
            <a:ext cx="2604934" cy="1953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Isosceles Triangle 17"/>
          <p:cNvSpPr/>
          <p:nvPr/>
        </p:nvSpPr>
        <p:spPr>
          <a:xfrm rot="5400000">
            <a:off x="2373265" y="3375747"/>
            <a:ext cx="2020841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858794" y="5886738"/>
            <a:ext cx="247215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dirty="0" smtClean="0">
                <a:latin typeface="Baskerville"/>
                <a:cs typeface="Baskerville"/>
              </a:rPr>
              <a:t>*</a:t>
            </a:r>
            <a:r>
              <a:rPr lang="en-US" sz="1000" dirty="0" err="1" smtClean="0">
                <a:latin typeface="Baskerville"/>
                <a:cs typeface="Baskerville"/>
              </a:rPr>
              <a:t>Lisianthus</a:t>
            </a:r>
            <a:r>
              <a:rPr lang="en-US" sz="1000" dirty="0" smtClean="0">
                <a:latin typeface="Baskerville"/>
                <a:cs typeface="Baskerville"/>
              </a:rPr>
              <a:t> </a:t>
            </a:r>
            <a:r>
              <a:rPr lang="en-US" sz="1000" dirty="0">
                <a:latin typeface="Baskerville"/>
                <a:cs typeface="Baskerville"/>
              </a:rPr>
              <a:t>weekly treatment at 1.25 l/ha</a:t>
            </a:r>
          </a:p>
        </p:txBody>
      </p:sp>
    </p:spTree>
    <p:extLst>
      <p:ext uri="{BB962C8B-B14F-4D97-AF65-F5344CB8AC3E}">
        <p14:creationId xmlns:p14="http://schemas.microsoft.com/office/powerpoint/2010/main" val="581219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43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icure</a:t>
            </a:r>
            <a:r>
              <a:rPr lang="en-US" dirty="0"/>
              <a:t> improves </a:t>
            </a:r>
            <a:r>
              <a:rPr lang="en-US" dirty="0" smtClean="0"/>
              <a:t>Robustness &amp; </a:t>
            </a:r>
            <a:r>
              <a:rPr lang="en-US"/>
              <a:t>shelf </a:t>
            </a:r>
            <a:r>
              <a:rPr lang="en-US" smtClean="0"/>
              <a:t>life of your cutflowers</a:t>
            </a:r>
            <a:endParaRPr lang="en-US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16943192"/>
              </p:ext>
            </p:extLst>
          </p:nvPr>
        </p:nvGraphicFramePr>
        <p:xfrm>
          <a:off x="155967" y="3563501"/>
          <a:ext cx="2895600" cy="2057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010609580"/>
              </p:ext>
            </p:extLst>
          </p:nvPr>
        </p:nvGraphicFramePr>
        <p:xfrm>
          <a:off x="0" y="1324189"/>
          <a:ext cx="2895600" cy="21946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Rounded Rectangle 13"/>
          <p:cNvSpPr/>
          <p:nvPr/>
        </p:nvSpPr>
        <p:spPr>
          <a:xfrm>
            <a:off x="6353299" y="1161741"/>
            <a:ext cx="2683823" cy="4298869"/>
          </a:xfrm>
          <a:prstGeom prst="roundRect">
            <a:avLst/>
          </a:prstGeom>
          <a:noFill/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 smtClean="0">
                <a:solidFill>
                  <a:srgbClr val="080808"/>
                </a:solidFill>
                <a:latin typeface="Baskerville"/>
              </a:rPr>
              <a:t>Stronger </a:t>
            </a:r>
            <a:r>
              <a:rPr lang="de-CH" sz="1400" dirty="0">
                <a:solidFill>
                  <a:srgbClr val="080808"/>
                </a:solidFill>
                <a:latin typeface="Baskerville"/>
              </a:rPr>
              <a:t>against </a:t>
            </a:r>
            <a:r>
              <a:rPr lang="de-CH" sz="1400" dirty="0" smtClean="0">
                <a:solidFill>
                  <a:srgbClr val="080808"/>
                </a:solidFill>
                <a:latin typeface="Baskerville"/>
              </a:rPr>
              <a:t>shelf life </a:t>
            </a:r>
            <a:r>
              <a:rPr lang="de-CH" sz="1400" dirty="0">
                <a:solidFill>
                  <a:srgbClr val="080808"/>
                </a:solidFill>
                <a:latin typeface="Baskerville"/>
              </a:rPr>
              <a:t>diseases </a:t>
            </a:r>
            <a:r>
              <a:rPr lang="de-CH" sz="1400" dirty="0">
                <a:solidFill>
                  <a:schemeClr val="tx1"/>
                </a:solidFill>
                <a:latin typeface="Baskerville"/>
              </a:rPr>
              <a:t>during low light sea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 smtClean="0">
                <a:solidFill>
                  <a:schemeClr val="tx1"/>
                </a:solidFill>
                <a:latin typeface="Baskerville"/>
              </a:rPr>
              <a:t>Improved shelf life up to 4 d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chemeClr val="tx1"/>
                </a:solidFill>
                <a:latin typeface="Baskerville"/>
                <a:cs typeface="Baskerville"/>
              </a:rPr>
              <a:t>Hicure makes crops stronger against Botrytis</a:t>
            </a:r>
            <a:r>
              <a:rPr lang="nl-NL" sz="1400" dirty="0" smtClean="0">
                <a:solidFill>
                  <a:schemeClr val="tx1"/>
                </a:solidFill>
                <a:latin typeface="Baskerville"/>
                <a:cs typeface="Baskerville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smtClean="0">
                <a:solidFill>
                  <a:schemeClr val="tx1"/>
                </a:solidFill>
                <a:latin typeface="Baskerville"/>
                <a:cs typeface="Baskerville"/>
              </a:rPr>
              <a:t>Hicure extends </a:t>
            </a:r>
            <a:r>
              <a:rPr lang="nl-NL" sz="1400" dirty="0">
                <a:solidFill>
                  <a:schemeClr val="tx1"/>
                </a:solidFill>
                <a:latin typeface="Baskerville"/>
                <a:cs typeface="Baskerville"/>
              </a:rPr>
              <a:t>shelf life of cutflow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600" dirty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1600" dirty="0" smtClean="0">
              <a:solidFill>
                <a:schemeClr val="tx1"/>
              </a:solidFill>
              <a:latin typeface="Baskerville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3306567" y="979609"/>
            <a:ext cx="2539214" cy="3445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  <a:latin typeface="Baskerville"/>
                <a:cs typeface="Baskerville"/>
              </a:rPr>
              <a:t>Roses*: 7 </a:t>
            </a:r>
            <a:r>
              <a:rPr lang="fr-FR" sz="1200" dirty="0" err="1" smtClean="0">
                <a:solidFill>
                  <a:schemeClr val="tx1"/>
                </a:solidFill>
                <a:latin typeface="Baskerville"/>
                <a:cs typeface="Baskerville"/>
              </a:rPr>
              <a:t>days</a:t>
            </a:r>
            <a:r>
              <a:rPr lang="fr-FR" sz="1200" dirty="0" smtClean="0">
                <a:solidFill>
                  <a:schemeClr val="tx1"/>
                </a:solidFill>
                <a:latin typeface="Baskerville"/>
                <a:cs typeface="Baskerville"/>
              </a:rPr>
              <a:t> at consumer phase </a:t>
            </a:r>
            <a:endParaRPr lang="fr-FR" sz="12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46129" y="3809098"/>
            <a:ext cx="207818" cy="1535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1200" dirty="0" smtClean="0">
                <a:latin typeface="Baskerville"/>
                <a:cs typeface="Baskerville"/>
              </a:rPr>
              <a:t>%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61149" y="5934238"/>
            <a:ext cx="2778826" cy="142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  <a:latin typeface="Baskerville"/>
                <a:cs typeface="Baskerville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 trials: Flora Holland</a:t>
            </a:r>
          </a:p>
        </p:txBody>
      </p:sp>
      <p:sp>
        <p:nvSpPr>
          <p:cNvPr id="24" name="Isosceles Triangle 23"/>
          <p:cNvSpPr/>
          <p:nvPr/>
        </p:nvSpPr>
        <p:spPr>
          <a:xfrm rot="5400000">
            <a:off x="5363224" y="3238834"/>
            <a:ext cx="1353789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644" y="5367195"/>
            <a:ext cx="1035833" cy="410611"/>
          </a:xfrm>
          <a:prstGeom prst="rect">
            <a:avLst/>
          </a:prstGeom>
        </p:spPr>
      </p:pic>
      <p:pic>
        <p:nvPicPr>
          <p:cNvPr id="20483" name="Picture 3" descr="C:\Users\u835675\AppData\Local\Microsoft\Windows\Temporary Internet Files\Content.Outlook\O0WU1SOU\30-1 syngenta 85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6566" y="3518875"/>
            <a:ext cx="2464426" cy="1848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ounded Rectangle 18"/>
          <p:cNvSpPr/>
          <p:nvPr/>
        </p:nvSpPr>
        <p:spPr>
          <a:xfrm>
            <a:off x="3359993" y="3154949"/>
            <a:ext cx="2485787" cy="31245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Baskerville"/>
                <a:cs typeface="Baskerville"/>
              </a:rPr>
              <a:t>Untreated</a:t>
            </a:r>
            <a:endParaRPr lang="en-US" sz="12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pic>
        <p:nvPicPr>
          <p:cNvPr id="23" name="Picture 2" descr="C:\Users\u835675\AppData\Local\Microsoft\Windows\Temporary Internet Files\Content.Outlook\O0WU1SOU\30-1 syngenta 854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9980" y="1324190"/>
            <a:ext cx="2441012" cy="1830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sosceles Triangle 24"/>
          <p:cNvSpPr/>
          <p:nvPr/>
        </p:nvSpPr>
        <p:spPr>
          <a:xfrm rot="5400000">
            <a:off x="2041146" y="3238834"/>
            <a:ext cx="2020841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063810" y="5881235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 smtClean="0">
                <a:latin typeface="Baskerville"/>
                <a:cs typeface="Baskerville"/>
              </a:rPr>
              <a:t>*Rose </a:t>
            </a:r>
            <a:r>
              <a:rPr lang="en-US" sz="1000" dirty="0">
                <a:latin typeface="Baskerville"/>
                <a:cs typeface="Baskerville"/>
              </a:rPr>
              <a:t>on weekly drip irrigation with 1.25 l/ha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96382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9934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b="1">
              <a:latin typeface="Baskerville"/>
              <a:sym typeface="Baskervill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6322" y="0"/>
            <a:ext cx="6279077" cy="76002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de-CH" dirty="0" smtClean="0"/>
              <a:t>Use &amp; recommendations In cutflowers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771877"/>
              </p:ext>
            </p:extLst>
          </p:nvPr>
        </p:nvGraphicFramePr>
        <p:xfrm>
          <a:off x="1622589" y="967025"/>
          <a:ext cx="7355157" cy="2235557"/>
        </p:xfrm>
        <a:graphic>
          <a:graphicData uri="http://schemas.openxmlformats.org/drawingml/2006/table">
            <a:tbl>
              <a:tblPr firstRow="1" firstCol="1" bandRow="1" bandCol="1">
                <a:tableStyleId>{5C22544A-7EE6-4342-B048-85BDC9FD1C3A}</a:tableStyleId>
              </a:tblPr>
              <a:tblGrid>
                <a:gridCol w="953321"/>
                <a:gridCol w="1221786"/>
                <a:gridCol w="1036552"/>
                <a:gridCol w="1707261"/>
                <a:gridCol w="1182889"/>
                <a:gridCol w="1253348"/>
              </a:tblGrid>
              <a:tr h="400906">
                <a:tc>
                  <a:txBody>
                    <a:bodyPr/>
                    <a:lstStyle/>
                    <a:p>
                      <a:pPr marR="62865"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Crop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Cultivation method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 smtClean="0">
                          <a:effectLst/>
                          <a:latin typeface="Baskerville"/>
                        </a:rPr>
                        <a:t>Application </a:t>
                      </a:r>
                      <a:r>
                        <a:rPr lang="nl-NL" sz="1200" dirty="0">
                          <a:effectLst/>
                          <a:latin typeface="Baskerville"/>
                        </a:rPr>
                        <a:t>typ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Dose (product) per treatment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Minimum </a:t>
                      </a:r>
                      <a:r>
                        <a:rPr lang="nl-NL" sz="1200" dirty="0" smtClean="0">
                          <a:effectLst/>
                          <a:latin typeface="Baskerville"/>
                        </a:rPr>
                        <a:t>water volum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Recommended interval (days)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</a:tr>
              <a:tr h="400906">
                <a:tc rowSpan="6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Cutflowers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 smtClean="0">
                          <a:effectLst/>
                          <a:latin typeface="Baskerville"/>
                        </a:rPr>
                        <a:t>Greenhous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Foliar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125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125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5-7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009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25 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250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009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Soil/ 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irrigation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2,5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N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00453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8535" marR="18535" marT="0" marB="0"/>
                </a:tc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 smtClean="0">
                          <a:effectLst/>
                          <a:latin typeface="Baskerville"/>
                        </a:rPr>
                        <a:t>Field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Foliar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>
                          <a:effectLst/>
                          <a:latin typeface="Baskerville"/>
                        </a:rPr>
                        <a:t>1,25 L/ha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>
                          <a:effectLst/>
                          <a:latin typeface="Baskerville"/>
                        </a:rPr>
                        <a:t>400 L/ha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5-7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157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2,5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4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157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Soil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2.5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N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11291" name="Group 11290"/>
          <p:cNvGrpSpPr/>
          <p:nvPr/>
        </p:nvGrpSpPr>
        <p:grpSpPr>
          <a:xfrm>
            <a:off x="95003" y="3715939"/>
            <a:ext cx="8986980" cy="1989642"/>
            <a:chOff x="95003" y="3822814"/>
            <a:chExt cx="8986980" cy="1989642"/>
          </a:xfrm>
        </p:grpSpPr>
        <p:cxnSp>
          <p:nvCxnSpPr>
            <p:cNvPr id="97" name="Straight Connector 96"/>
            <p:cNvCxnSpPr/>
            <p:nvPr/>
          </p:nvCxnSpPr>
          <p:spPr>
            <a:xfrm>
              <a:off x="8001068" y="4204805"/>
              <a:ext cx="303" cy="1574055"/>
            </a:xfrm>
            <a:prstGeom prst="line">
              <a:avLst/>
            </a:prstGeom>
            <a:ln w="6350">
              <a:solidFill>
                <a:srgbClr val="AC145A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71" name="Straight Connector 11270"/>
            <p:cNvCxnSpPr/>
            <p:nvPr/>
          </p:nvCxnSpPr>
          <p:spPr>
            <a:xfrm>
              <a:off x="2886841" y="4149168"/>
              <a:ext cx="0" cy="1029085"/>
            </a:xfrm>
            <a:prstGeom prst="line">
              <a:avLst/>
            </a:prstGeom>
            <a:ln w="6350">
              <a:solidFill>
                <a:srgbClr val="AC145A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/>
            <p:cNvSpPr/>
            <p:nvPr/>
          </p:nvSpPr>
          <p:spPr>
            <a:xfrm>
              <a:off x="3161083" y="4330014"/>
              <a:ext cx="1814676" cy="346461"/>
            </a:xfrm>
            <a:prstGeom prst="rect">
              <a:avLst/>
            </a:prstGeom>
            <a:gradFill flip="none" rotWithShape="1">
              <a:gsLst>
                <a:gs pos="22000">
                  <a:schemeClr val="accent3">
                    <a:lumMod val="40000"/>
                    <a:lumOff val="60000"/>
                  </a:schemeClr>
                </a:gs>
                <a:gs pos="0">
                  <a:schemeClr val="accent3">
                    <a:lumMod val="40000"/>
                    <a:lumOff val="60000"/>
                  </a:schemeClr>
                </a:gs>
                <a:gs pos="61000">
                  <a:schemeClr val="accent3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reflection endPos="0" dist="508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1265" name="Rounded Rectangle 11264"/>
            <p:cNvSpPr/>
            <p:nvPr/>
          </p:nvSpPr>
          <p:spPr>
            <a:xfrm>
              <a:off x="1633348" y="3829272"/>
              <a:ext cx="1251239" cy="45126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b="1" dirty="0" smtClean="0">
                  <a:latin typeface="Baskerville"/>
                </a:rPr>
                <a:t>Planting</a:t>
              </a:r>
              <a:endParaRPr lang="en-US" sz="1200" b="1" dirty="0">
                <a:latin typeface="Baskerville"/>
              </a:endParaRPr>
            </a:p>
          </p:txBody>
        </p:sp>
        <p:sp>
          <p:nvSpPr>
            <p:cNvPr id="69" name="Rounded Rectangle 68"/>
            <p:cNvSpPr/>
            <p:nvPr/>
          </p:nvSpPr>
          <p:spPr>
            <a:xfrm>
              <a:off x="5386017" y="3829272"/>
              <a:ext cx="1355509" cy="45126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b="1" dirty="0" smtClean="0">
                  <a:latin typeface="Baskerville"/>
                </a:rPr>
                <a:t>Flower induction</a:t>
              </a:r>
              <a:endParaRPr lang="en-US" sz="1200" b="1" dirty="0">
                <a:latin typeface="Baskerville"/>
              </a:endParaRPr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6711356" y="3829272"/>
              <a:ext cx="1292610" cy="45126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b="1" dirty="0" smtClean="0">
                  <a:latin typeface="Baskerville"/>
                </a:rPr>
                <a:t>Flowering</a:t>
              </a:r>
              <a:endParaRPr lang="en-US" sz="1200" b="1" dirty="0">
                <a:latin typeface="Baskerville"/>
              </a:endParaRP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1622590" y="4330014"/>
              <a:ext cx="1888212" cy="346461"/>
            </a:xfrm>
            <a:prstGeom prst="rect">
              <a:avLst/>
            </a:prstGeom>
            <a:gradFill flip="none" rotWithShape="1">
              <a:gsLst>
                <a:gs pos="85000">
                  <a:schemeClr val="accent3">
                    <a:lumMod val="40000"/>
                    <a:lumOff val="60000"/>
                  </a:schemeClr>
                </a:gs>
                <a:gs pos="73000">
                  <a:srgbClr val="AC145A"/>
                </a:gs>
                <a:gs pos="99000">
                  <a:schemeClr val="accent3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reflection endPos="0" dist="508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4612406" y="4330014"/>
              <a:ext cx="2820585" cy="346461"/>
            </a:xfrm>
            <a:prstGeom prst="rect">
              <a:avLst/>
            </a:prstGeom>
            <a:gradFill flip="none" rotWithShape="1">
              <a:gsLst>
                <a:gs pos="85000">
                  <a:schemeClr val="accent3">
                    <a:lumMod val="40000"/>
                    <a:lumOff val="60000"/>
                  </a:schemeClr>
                </a:gs>
                <a:gs pos="73000">
                  <a:srgbClr val="AC145A"/>
                </a:gs>
                <a:gs pos="99000">
                  <a:schemeClr val="accent3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reflection endPos="0" dist="508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78" name="Rectangle 77"/>
            <p:cNvSpPr/>
            <p:nvPr/>
          </p:nvSpPr>
          <p:spPr>
            <a:xfrm>
              <a:off x="7196448" y="4330014"/>
              <a:ext cx="807518" cy="346461"/>
            </a:xfrm>
            <a:prstGeom prst="rect">
              <a:avLst/>
            </a:prstGeom>
            <a:gradFill flip="none" rotWithShape="1">
              <a:gsLst>
                <a:gs pos="24000">
                  <a:schemeClr val="accent3">
                    <a:lumMod val="40000"/>
                    <a:lumOff val="60000"/>
                  </a:schemeClr>
                </a:gs>
                <a:gs pos="1000">
                  <a:schemeClr val="accent3">
                    <a:lumMod val="40000"/>
                    <a:lumOff val="60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>
              <a:reflection endPos="0" dist="508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622590" y="4320216"/>
              <a:ext cx="1522392" cy="39188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de-CH" sz="1200" dirty="0" smtClean="0">
                  <a:solidFill>
                    <a:schemeClr val="bg1"/>
                  </a:solidFill>
                  <a:latin typeface="Baskerville"/>
                  <a:cs typeface="Baskerville"/>
                </a:rPr>
                <a:t>weekly</a:t>
              </a:r>
              <a:endParaRPr lang="en-US" sz="1200" dirty="0" err="1" smtClean="0">
                <a:solidFill>
                  <a:schemeClr val="bg1"/>
                </a:solidFill>
                <a:latin typeface="Baskerville"/>
                <a:cs typeface="Baskerville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6791722" y="4320216"/>
              <a:ext cx="1377538" cy="39188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de-CH" sz="1200" dirty="0" smtClean="0">
                  <a:solidFill>
                    <a:schemeClr val="bg1"/>
                  </a:solidFill>
                  <a:latin typeface="Baskerville"/>
                  <a:cs typeface="Baskerville"/>
                </a:rPr>
                <a:t>Every 2 weeks</a:t>
              </a:r>
              <a:endParaRPr lang="en-US" sz="1200" dirty="0" err="1" smtClean="0">
                <a:solidFill>
                  <a:schemeClr val="bg1"/>
                </a:solidFill>
                <a:latin typeface="Baskerville"/>
                <a:cs typeface="Baskerville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5235902" y="4320216"/>
              <a:ext cx="1377538" cy="39188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de-CH" sz="1200" dirty="0" smtClean="0">
                  <a:solidFill>
                    <a:schemeClr val="bg1"/>
                  </a:solidFill>
                  <a:latin typeface="Baskerville"/>
                  <a:cs typeface="Baskerville"/>
                </a:rPr>
                <a:t>weekly</a:t>
              </a:r>
              <a:endParaRPr lang="en-US" sz="1200" dirty="0" err="1" smtClean="0">
                <a:solidFill>
                  <a:schemeClr val="bg1"/>
                </a:solidFill>
                <a:latin typeface="Baskerville"/>
                <a:cs typeface="Baskerville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1468215" y="4673881"/>
              <a:ext cx="1522392" cy="33624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de-CH" sz="1200" dirty="0" smtClean="0">
                  <a:latin typeface="Baskerville"/>
                  <a:cs typeface="Baskerville"/>
                </a:rPr>
                <a:t>Drench/Foliar</a:t>
              </a:r>
              <a:endParaRPr lang="en-US" sz="1200" dirty="0" err="1" smtClean="0">
                <a:latin typeface="Baskerville"/>
                <a:cs typeface="Baskerville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3161083" y="5010128"/>
              <a:ext cx="2074819" cy="33624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de-CH" sz="1200" dirty="0" smtClean="0">
                  <a:latin typeface="Baskerville"/>
                  <a:cs typeface="Baskerville"/>
                </a:rPr>
                <a:t>Foliar</a:t>
              </a:r>
              <a:endParaRPr lang="en-US" sz="1200" dirty="0" err="1" smtClean="0">
                <a:latin typeface="Baskerville"/>
                <a:cs typeface="Baskerville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5544653" y="5386975"/>
              <a:ext cx="2361415" cy="39188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de-CH" sz="1200" dirty="0" smtClean="0">
                  <a:latin typeface="Baskerville"/>
                  <a:cs typeface="Baskerville"/>
                </a:rPr>
                <a:t>Foliar</a:t>
              </a:r>
              <a:endParaRPr lang="en-US" sz="1200" dirty="0" err="1" smtClean="0">
                <a:latin typeface="Baskerville"/>
                <a:cs typeface="Baskerville"/>
              </a:endParaRPr>
            </a:p>
          </p:txBody>
        </p:sp>
        <p:sp>
          <p:nvSpPr>
            <p:cNvPr id="11269" name="Pentagon 11268"/>
            <p:cNvSpPr/>
            <p:nvPr/>
          </p:nvSpPr>
          <p:spPr>
            <a:xfrm>
              <a:off x="95003" y="4676476"/>
              <a:ext cx="1700515" cy="333652"/>
            </a:xfrm>
            <a:prstGeom prst="homePlat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CH" sz="1200" b="1" dirty="0" smtClean="0">
                  <a:solidFill>
                    <a:schemeClr val="tx1"/>
                  </a:solidFill>
                  <a:latin typeface="Baskerville"/>
                </a:rPr>
                <a:t>Root development</a:t>
              </a:r>
              <a:endParaRPr lang="en-US" sz="1200" b="1" dirty="0">
                <a:solidFill>
                  <a:schemeClr val="tx1"/>
                </a:solidFill>
                <a:latin typeface="Baskerville"/>
              </a:endParaRPr>
            </a:p>
          </p:txBody>
        </p:sp>
        <p:sp>
          <p:nvSpPr>
            <p:cNvPr id="90" name="Pentagon 89"/>
            <p:cNvSpPr/>
            <p:nvPr/>
          </p:nvSpPr>
          <p:spPr>
            <a:xfrm>
              <a:off x="95003" y="5065765"/>
              <a:ext cx="1700515" cy="333652"/>
            </a:xfrm>
            <a:prstGeom prst="homePlat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CH" sz="1200" b="1" dirty="0" smtClean="0">
                  <a:solidFill>
                    <a:schemeClr val="tx1"/>
                  </a:solidFill>
                  <a:latin typeface="Baskerville"/>
                </a:rPr>
                <a:t>Stress </a:t>
              </a:r>
              <a:r>
                <a:rPr lang="de-CH" sz="1200" b="1" dirty="0">
                  <a:solidFill>
                    <a:schemeClr val="tx1"/>
                  </a:solidFill>
                  <a:latin typeface="Baskerville"/>
                </a:rPr>
                <a:t>mitigation</a:t>
              </a:r>
              <a:endParaRPr lang="en-US" sz="1200" b="1" dirty="0">
                <a:solidFill>
                  <a:schemeClr val="tx1"/>
                </a:solidFill>
                <a:latin typeface="Baskerville"/>
              </a:endParaRPr>
            </a:p>
          </p:txBody>
        </p:sp>
        <p:sp>
          <p:nvSpPr>
            <p:cNvPr id="91" name="Pentagon 90"/>
            <p:cNvSpPr/>
            <p:nvPr/>
          </p:nvSpPr>
          <p:spPr>
            <a:xfrm>
              <a:off x="95003" y="5478804"/>
              <a:ext cx="1700515" cy="333652"/>
            </a:xfrm>
            <a:prstGeom prst="homePlat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CH" sz="1200" b="1" dirty="0">
                  <a:solidFill>
                    <a:schemeClr val="tx1"/>
                  </a:solidFill>
                  <a:latin typeface="Baskerville"/>
                </a:rPr>
                <a:t>Crop and shelf life</a:t>
              </a:r>
              <a:endParaRPr lang="en-US" sz="1200" b="1" dirty="0">
                <a:solidFill>
                  <a:schemeClr val="tx1"/>
                </a:solidFill>
                <a:latin typeface="Baskerville"/>
              </a:endParaRP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8003010" y="3822814"/>
              <a:ext cx="1078973" cy="45126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b="1" dirty="0" smtClean="0">
                  <a:latin typeface="Baskerville"/>
                </a:rPr>
                <a:t>Harvest</a:t>
              </a:r>
              <a:endParaRPr lang="en-US" sz="1200" b="1" dirty="0">
                <a:latin typeface="Baskerville"/>
              </a:endParaRPr>
            </a:p>
          </p:txBody>
        </p:sp>
        <p:cxnSp>
          <p:nvCxnSpPr>
            <p:cNvPr id="101" name="Straight Connector 100"/>
            <p:cNvCxnSpPr/>
            <p:nvPr/>
          </p:nvCxnSpPr>
          <p:spPr>
            <a:xfrm>
              <a:off x="5386017" y="4204805"/>
              <a:ext cx="303" cy="1349728"/>
            </a:xfrm>
            <a:prstGeom prst="line">
              <a:avLst/>
            </a:prstGeom>
            <a:ln w="6350">
              <a:solidFill>
                <a:srgbClr val="AC145A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ounded Rectangle 67"/>
            <p:cNvSpPr/>
            <p:nvPr/>
          </p:nvSpPr>
          <p:spPr>
            <a:xfrm>
              <a:off x="2879565" y="3829272"/>
              <a:ext cx="2511399" cy="45126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b="1" dirty="0" smtClean="0">
                  <a:latin typeface="Baskerville"/>
                </a:rPr>
                <a:t>Crop development</a:t>
              </a:r>
              <a:endParaRPr lang="en-US" sz="1200" b="1" dirty="0">
                <a:latin typeface="Baskerville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3559182" y="4336295"/>
              <a:ext cx="1018478" cy="39188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de-CH" sz="1200" dirty="0" smtClean="0">
                  <a:solidFill>
                    <a:schemeClr val="bg1"/>
                  </a:solidFill>
                  <a:latin typeface="Baskerville"/>
                  <a:cs typeface="Baskerville"/>
                </a:rPr>
                <a:t>Every 2 weeks</a:t>
              </a:r>
              <a:endParaRPr lang="en-US" sz="1200" dirty="0" err="1" smtClean="0">
                <a:solidFill>
                  <a:schemeClr val="bg1"/>
                </a:solidFill>
                <a:latin typeface="Baskerville"/>
                <a:cs typeface="Baskerville"/>
              </a:endParaRPr>
            </a:p>
          </p:txBody>
        </p:sp>
      </p:grpSp>
      <p:sp>
        <p:nvSpPr>
          <p:cNvPr id="116" name="Pentagon 115"/>
          <p:cNvSpPr/>
          <p:nvPr/>
        </p:nvSpPr>
        <p:spPr>
          <a:xfrm>
            <a:off x="95003" y="4247423"/>
            <a:ext cx="1700515" cy="333652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200" b="1" dirty="0" smtClean="0">
                <a:solidFill>
                  <a:schemeClr val="tx1"/>
                </a:solidFill>
                <a:latin typeface="Baskerville"/>
              </a:rPr>
              <a:t>Hicure usage</a:t>
            </a:r>
            <a:endParaRPr lang="en-US" sz="1200" b="1" dirty="0">
              <a:solidFill>
                <a:schemeClr val="tx1"/>
              </a:solidFill>
              <a:latin typeface="Baskerville"/>
            </a:endParaRPr>
          </a:p>
        </p:txBody>
      </p:sp>
      <p:pic>
        <p:nvPicPr>
          <p:cNvPr id="11309" name="Picture 4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2772" y="4570150"/>
            <a:ext cx="1093130" cy="963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233043" y="5953243"/>
            <a:ext cx="1868891" cy="2196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  <a:latin typeface="Baskerville"/>
                <a:cs typeface="Baskerville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 trials: </a:t>
            </a:r>
            <a:r>
              <a:rPr lang="en-US" dirty="0" smtClean="0">
                <a:solidFill>
                  <a:srgbClr val="000000"/>
                </a:solidFill>
              </a:rPr>
              <a:t>Syngenta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43109" y="3467594"/>
            <a:ext cx="3685815" cy="2018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400" dirty="0" smtClean="0">
                <a:latin typeface="Baskerville"/>
                <a:cs typeface="Baskerville"/>
              </a:rPr>
              <a:t>Recommendation in Greenhouse/Field </a:t>
            </a:r>
            <a:endParaRPr lang="en-US" sz="1400" dirty="0" err="1" smtClean="0">
              <a:latin typeface="Baskerville"/>
              <a:cs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1182617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1829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improves consumer garden performance in Pot  &amp; Bedding</a:t>
            </a:r>
            <a:endParaRPr lang="en-US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355208850"/>
              </p:ext>
            </p:extLst>
          </p:nvPr>
        </p:nvGraphicFramePr>
        <p:xfrm>
          <a:off x="198755" y="1638792"/>
          <a:ext cx="3256965" cy="3815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6341423" y="2005399"/>
            <a:ext cx="2683824" cy="2801552"/>
          </a:xfrm>
          <a:prstGeom prst="roundRect">
            <a:avLst/>
          </a:prstGeom>
          <a:noFill/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sz="1400" dirty="0">
                <a:solidFill>
                  <a:schemeClr val="tx1"/>
                </a:solidFill>
                <a:latin typeface="Baskerville"/>
                <a:cs typeface="Baskerville"/>
              </a:rPr>
              <a:t>Higher vitality of </a:t>
            </a:r>
            <a:r>
              <a:rPr lang="nl-NL" sz="1400" dirty="0" smtClean="0">
                <a:solidFill>
                  <a:schemeClr val="tx1"/>
                </a:solidFill>
                <a:latin typeface="Baskerville"/>
                <a:cs typeface="Baskerville"/>
              </a:rPr>
              <a:t>outdoor </a:t>
            </a:r>
            <a:r>
              <a:rPr lang="nl-NL" sz="1400" dirty="0">
                <a:solidFill>
                  <a:schemeClr val="tx1"/>
                </a:solidFill>
                <a:latin typeface="Baskerville"/>
                <a:cs typeface="Baskerville"/>
              </a:rPr>
              <a:t>plants</a:t>
            </a:r>
          </a:p>
          <a:p>
            <a:endParaRPr lang="en-US" sz="1400" dirty="0" smtClean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1400" dirty="0" smtClean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 smtClean="0">
                <a:solidFill>
                  <a:schemeClr val="tx1"/>
                </a:solidFill>
                <a:latin typeface="Baskerville"/>
                <a:cs typeface="Baskerville"/>
              </a:rPr>
              <a:t>Increased number of flowers in the ga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smtClean="0">
                <a:solidFill>
                  <a:schemeClr val="tx1"/>
                </a:solidFill>
                <a:latin typeface="Baskerville"/>
                <a:cs typeface="Baskerville"/>
              </a:rPr>
              <a:t>Hicure </a:t>
            </a:r>
            <a:r>
              <a:rPr lang="nl-NL" sz="1400" dirty="0">
                <a:solidFill>
                  <a:schemeClr val="tx1"/>
                </a:solidFill>
                <a:latin typeface="Baskerville"/>
                <a:cs typeface="Baskerville"/>
              </a:rPr>
              <a:t>stimulate roots </a:t>
            </a:r>
            <a:r>
              <a:rPr lang="nl-NL" sz="1400" dirty="0" smtClean="0">
                <a:solidFill>
                  <a:schemeClr val="tx1"/>
                </a:solidFill>
                <a:latin typeface="Baskerville"/>
                <a:cs typeface="Baskerville"/>
              </a:rPr>
              <a:t>development</a:t>
            </a:r>
            <a:endParaRPr lang="nl-NL" sz="1400" dirty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>
                <a:solidFill>
                  <a:schemeClr val="tx1"/>
                </a:solidFill>
                <a:latin typeface="Baskerville"/>
                <a:cs typeface="Baskerville"/>
              </a:rPr>
              <a:t>Better plants quality </a:t>
            </a:r>
          </a:p>
          <a:p>
            <a:endParaRPr lang="en-US" sz="1400" dirty="0" smtClean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658852" y="5465822"/>
            <a:ext cx="1182264" cy="31245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Baskerville"/>
                <a:cs typeface="Baskerville"/>
              </a:rPr>
              <a:t>Untreated</a:t>
            </a:r>
            <a:endParaRPr lang="en-US" sz="12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sp>
        <p:nvSpPr>
          <p:cNvPr id="20" name="Isosceles Triangle 19"/>
          <p:cNvSpPr/>
          <p:nvPr/>
        </p:nvSpPr>
        <p:spPr>
          <a:xfrm rot="5400000">
            <a:off x="5414882" y="3333833"/>
            <a:ext cx="1353789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28044" y="5954360"/>
            <a:ext cx="1868891" cy="2196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  <a:latin typeface="Baskerville"/>
                <a:cs typeface="Baskerville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 trials: DLV &amp; grower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575727" y="3654020"/>
            <a:ext cx="2412581" cy="2028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dirty="0" err="1" smtClean="0">
                <a:latin typeface="Baskerville"/>
                <a:cs typeface="Baskerville"/>
              </a:rPr>
              <a:t>Lavendula</a:t>
            </a:r>
            <a:r>
              <a:rPr lang="en-US" sz="1100" dirty="0" smtClean="0">
                <a:latin typeface="Baskerville"/>
                <a:cs typeface="Baskerville"/>
              </a:rPr>
              <a:t>: Trials at  growers (</a:t>
            </a:r>
            <a:r>
              <a:rPr lang="en-US" sz="1100" dirty="0" err="1" smtClean="0">
                <a:latin typeface="Baskerville"/>
                <a:cs typeface="Baskerville"/>
              </a:rPr>
              <a:t>Ger</a:t>
            </a:r>
            <a:r>
              <a:rPr lang="en-US" sz="1100" dirty="0" smtClean="0">
                <a:latin typeface="Baskerville"/>
                <a:cs typeface="Baskerville"/>
              </a:rPr>
              <a:t>)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116" y="5480221"/>
            <a:ext cx="1035833" cy="41061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180" y="3897273"/>
            <a:ext cx="2123065" cy="1592299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754181" y="1170027"/>
            <a:ext cx="2196132" cy="2432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100" dirty="0" err="1" smtClean="0">
                <a:latin typeface="Baskerville"/>
                <a:cs typeface="Baskerville"/>
              </a:rPr>
              <a:t>Lavendula</a:t>
            </a:r>
            <a:r>
              <a:rPr lang="en-US" sz="1100" dirty="0" smtClean="0">
                <a:latin typeface="Baskerville"/>
                <a:cs typeface="Baskerville"/>
              </a:rPr>
              <a:t>*: Trials at DLV (NL)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412" y="3059935"/>
            <a:ext cx="1035833" cy="410611"/>
          </a:xfrm>
          <a:prstGeom prst="rect">
            <a:avLst/>
          </a:prstGeom>
        </p:spPr>
      </p:pic>
      <p:pic>
        <p:nvPicPr>
          <p:cNvPr id="25" name="Picture 24" descr="C:\Users\opitzlud\Pictures\Versuche\Beier\18.03.14\P1050206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754180" y="1413282"/>
            <a:ext cx="2196132" cy="1663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Isosceles Triangle 25"/>
          <p:cNvSpPr/>
          <p:nvPr/>
        </p:nvSpPr>
        <p:spPr>
          <a:xfrm rot="5400000">
            <a:off x="2492965" y="3333834"/>
            <a:ext cx="2020841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ounded Rectangle 26"/>
          <p:cNvSpPr/>
          <p:nvPr/>
        </p:nvSpPr>
        <p:spPr>
          <a:xfrm>
            <a:off x="3754180" y="3061785"/>
            <a:ext cx="1182264" cy="31245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Baskerville"/>
                <a:cs typeface="Baskerville"/>
              </a:rPr>
              <a:t>Untreated</a:t>
            </a:r>
            <a:endParaRPr lang="en-US" sz="12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137560" y="5890832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 smtClean="0">
                <a:latin typeface="Baskerville"/>
                <a:cs typeface="Baskerville"/>
              </a:rPr>
              <a:t>*Transport </a:t>
            </a:r>
            <a:r>
              <a:rPr lang="en-US" sz="1000" dirty="0">
                <a:latin typeface="Baskerville"/>
                <a:cs typeface="Baskerville"/>
              </a:rPr>
              <a:t>and store simulation trial </a:t>
            </a:r>
            <a:r>
              <a:rPr lang="en-US" sz="1000" dirty="0" err="1">
                <a:latin typeface="Baskerville"/>
                <a:cs typeface="Baskerville"/>
              </a:rPr>
              <a:t>Lavendula</a:t>
            </a:r>
            <a:r>
              <a:rPr lang="en-US" sz="1000" dirty="0">
                <a:latin typeface="Baskerville"/>
                <a:cs typeface="Baskerville"/>
              </a:rPr>
              <a:t> ‘Blue Scent’®</a:t>
            </a:r>
          </a:p>
        </p:txBody>
      </p:sp>
    </p:spTree>
    <p:extLst>
      <p:ext uri="{BB962C8B-B14F-4D97-AF65-F5344CB8AC3E}">
        <p14:creationId xmlns:p14="http://schemas.microsoft.com/office/powerpoint/2010/main" val="3584446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Hicure</a:t>
            </a:r>
            <a:r>
              <a:rPr lang="en-US" dirty="0" smtClean="0"/>
              <a:t> in </a:t>
            </a:r>
            <a:r>
              <a:rPr lang="en-US" dirty="0" err="1" smtClean="0"/>
              <a:t>vaste</a:t>
            </a:r>
            <a:r>
              <a:rPr lang="en-US" dirty="0" smtClean="0"/>
              <a:t> </a:t>
            </a:r>
            <a:r>
              <a:rPr lang="en-US" dirty="0" err="1" smtClean="0"/>
              <a:t>plante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err="1" smtClean="0"/>
              <a:t>Hicure</a:t>
            </a:r>
            <a:r>
              <a:rPr lang="en-US" dirty="0" smtClean="0"/>
              <a:t> </a:t>
            </a:r>
            <a:r>
              <a:rPr lang="en-US" dirty="0" err="1" smtClean="0"/>
              <a:t>stimuleert</a:t>
            </a:r>
            <a:r>
              <a:rPr lang="en-US" dirty="0" smtClean="0"/>
              <a:t> de </a:t>
            </a:r>
            <a:r>
              <a:rPr lang="en-US" dirty="0" err="1" smtClean="0"/>
              <a:t>wortelontwikkeling</a:t>
            </a:r>
            <a:r>
              <a:rPr lang="en-US" dirty="0" smtClean="0"/>
              <a:t> en </a:t>
            </a:r>
            <a:r>
              <a:rPr lang="en-US" dirty="0" err="1" smtClean="0"/>
              <a:t>verbetert</a:t>
            </a:r>
            <a:r>
              <a:rPr lang="en-US" dirty="0" smtClean="0"/>
              <a:t> </a:t>
            </a:r>
            <a:r>
              <a:rPr lang="en-US" dirty="0" err="1" smtClean="0"/>
              <a:t>daardoor</a:t>
            </a:r>
            <a:r>
              <a:rPr lang="en-US" dirty="0" smtClean="0"/>
              <a:t> de </a:t>
            </a:r>
            <a:r>
              <a:rPr lang="en-US" dirty="0" err="1" smtClean="0"/>
              <a:t>kwaliteit</a:t>
            </a:r>
            <a:r>
              <a:rPr lang="en-US" dirty="0" smtClean="0"/>
              <a:t> van de plant</a:t>
            </a:r>
            <a:endParaRPr lang="en-US" dirty="0"/>
          </a:p>
        </p:txBody>
      </p:sp>
      <p:graphicFrame>
        <p:nvGraphicFramePr>
          <p:cNvPr id="5" name="Chart 4"/>
          <p:cNvGraphicFramePr/>
          <p:nvPr>
            <p:extLst/>
          </p:nvPr>
        </p:nvGraphicFramePr>
        <p:xfrm>
          <a:off x="2509856" y="879452"/>
          <a:ext cx="5548294" cy="3121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192916" y="4387320"/>
            <a:ext cx="2680322" cy="1634393"/>
            <a:chOff x="3815728" y="3838575"/>
            <a:chExt cx="2680322" cy="1634393"/>
          </a:xfrm>
        </p:grpSpPr>
        <p:pic>
          <p:nvPicPr>
            <p:cNvPr id="7" name="Picture 6" descr="C:\Users\opitzlud\Pictures\Versuche\Beier\18.03.14\P1050206.JPG"/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5729" y="3838575"/>
              <a:ext cx="1925018" cy="13659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3815728" y="5261749"/>
              <a:ext cx="2680322" cy="211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400" dirty="0" err="1" smtClean="0">
                  <a:latin typeface="Baskerville"/>
                  <a:cs typeface="Baskerville"/>
                </a:rPr>
                <a:t>Hicure</a:t>
              </a:r>
              <a:r>
                <a:rPr lang="en-US" sz="1400" dirty="0" smtClean="0">
                  <a:latin typeface="Baskerville"/>
                  <a:cs typeface="Baskerville"/>
                </a:rPr>
                <a:t>        </a:t>
              </a:r>
              <a:r>
                <a:rPr lang="en-US" sz="1400" dirty="0" err="1" smtClean="0">
                  <a:latin typeface="Baskerville"/>
                  <a:cs typeface="Baskerville"/>
                </a:rPr>
                <a:t>Onbehandeld</a:t>
              </a:r>
              <a:endParaRPr lang="en-US" sz="1400" dirty="0" smtClean="0">
                <a:latin typeface="Baskerville"/>
                <a:cs typeface="Baskerville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509856" y="4387320"/>
            <a:ext cx="2268382" cy="1634394"/>
            <a:chOff x="6132668" y="3838575"/>
            <a:chExt cx="2268382" cy="1634394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32668" y="3838575"/>
              <a:ext cx="1821256" cy="1365942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6132668" y="5269771"/>
              <a:ext cx="2268382" cy="2031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400" dirty="0" err="1" smtClean="0">
                  <a:latin typeface="Baskerville"/>
                  <a:cs typeface="Baskerville"/>
                </a:rPr>
                <a:t>Onbehandeld</a:t>
              </a:r>
              <a:r>
                <a:rPr lang="en-US" sz="1400" dirty="0" smtClean="0">
                  <a:latin typeface="Baskerville"/>
                  <a:cs typeface="Baskerville"/>
                </a:rPr>
                <a:t>      </a:t>
              </a:r>
              <a:r>
                <a:rPr lang="en-US" sz="1400" dirty="0" err="1" smtClean="0">
                  <a:latin typeface="Baskerville"/>
                  <a:cs typeface="Baskerville"/>
                </a:rPr>
                <a:t>Hicure</a:t>
              </a:r>
              <a:endParaRPr lang="en-US" sz="1400" dirty="0" smtClean="0">
                <a:latin typeface="Baskerville"/>
                <a:cs typeface="Baskerville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5163695" y="4086630"/>
            <a:ext cx="3827905" cy="1935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 smtClean="0">
                <a:latin typeface="Baskerville"/>
                <a:cs typeface="Baskerville"/>
              </a:rPr>
              <a:t>Proef</a:t>
            </a:r>
            <a:r>
              <a:rPr lang="en-US" sz="1400" dirty="0" smtClean="0">
                <a:latin typeface="Baskerville"/>
                <a:cs typeface="Baskerville"/>
              </a:rPr>
              <a:t> DLV </a:t>
            </a:r>
            <a:r>
              <a:rPr lang="en-US" sz="1400" dirty="0" err="1" smtClean="0">
                <a:latin typeface="Baskerville"/>
                <a:cs typeface="Baskerville"/>
              </a:rPr>
              <a:t>Boskoop</a:t>
            </a:r>
            <a:r>
              <a:rPr lang="en-US" sz="1400" dirty="0" smtClean="0">
                <a:latin typeface="Baskerville"/>
                <a:cs typeface="Baskerville"/>
              </a:rPr>
              <a:t> 2014</a:t>
            </a:r>
            <a:endParaRPr lang="en-US" sz="1400" dirty="0">
              <a:latin typeface="Baskerville"/>
              <a:cs typeface="Baskerville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 smtClean="0">
                <a:latin typeface="Baskerville"/>
                <a:cs typeface="Baskerville"/>
              </a:rPr>
              <a:t>Lavendula</a:t>
            </a:r>
            <a:r>
              <a:rPr lang="en-US" sz="1400" dirty="0" smtClean="0">
                <a:latin typeface="Baskerville"/>
                <a:cs typeface="Baskerville"/>
              </a:rPr>
              <a:t> ‘Blue Scent’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>
                <a:latin typeface="Baskerville"/>
                <a:cs typeface="Baskerville"/>
              </a:rPr>
              <a:t>Plantdatum</a:t>
            </a:r>
            <a:r>
              <a:rPr lang="en-US" sz="1400" dirty="0">
                <a:latin typeface="Baskerville"/>
                <a:cs typeface="Baskerville"/>
              </a:rPr>
              <a:t>: </a:t>
            </a:r>
            <a:r>
              <a:rPr lang="en-US" sz="1400" dirty="0" smtClean="0">
                <a:latin typeface="Baskerville"/>
                <a:cs typeface="Baskerville"/>
              </a:rPr>
              <a:t>		2 </a:t>
            </a:r>
            <a:r>
              <a:rPr lang="en-US" sz="1400" dirty="0" err="1" smtClean="0">
                <a:latin typeface="Baskerville"/>
                <a:cs typeface="Baskerville"/>
              </a:rPr>
              <a:t>mei</a:t>
            </a:r>
            <a:r>
              <a:rPr lang="en-US" sz="1400" dirty="0" smtClean="0">
                <a:latin typeface="Baskerville"/>
                <a:cs typeface="Baskerville"/>
              </a:rPr>
              <a:t> (</a:t>
            </a:r>
            <a:r>
              <a:rPr lang="en-US" sz="1400" dirty="0" err="1" smtClean="0">
                <a:latin typeface="Baskerville"/>
                <a:cs typeface="Baskerville"/>
              </a:rPr>
              <a:t>buiten</a:t>
            </a:r>
            <a:r>
              <a:rPr lang="en-US" sz="1400" dirty="0" smtClean="0">
                <a:latin typeface="Baskerville"/>
                <a:cs typeface="Baskerville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 smtClean="0">
                <a:latin typeface="Baskerville"/>
                <a:cs typeface="Baskerville"/>
              </a:rPr>
              <a:t>Transportsimulatie</a:t>
            </a:r>
            <a:r>
              <a:rPr lang="en-US" sz="1400" dirty="0" smtClean="0">
                <a:latin typeface="Baskerville"/>
                <a:cs typeface="Baskerville"/>
              </a:rPr>
              <a:t>:		15 </a:t>
            </a:r>
            <a:r>
              <a:rPr lang="en-US" sz="1400" dirty="0" err="1" smtClean="0">
                <a:latin typeface="Baskerville"/>
                <a:cs typeface="Baskerville"/>
              </a:rPr>
              <a:t>juli</a:t>
            </a:r>
            <a:endParaRPr lang="en-US" sz="1400" dirty="0">
              <a:latin typeface="Baskerville"/>
              <a:cs typeface="Baskerville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 smtClean="0">
                <a:latin typeface="Baskerville"/>
                <a:cs typeface="Baskerville"/>
              </a:rPr>
              <a:t>Winkelsimulatie</a:t>
            </a:r>
            <a:r>
              <a:rPr lang="en-US" sz="1400" dirty="0" smtClean="0">
                <a:latin typeface="Baskerville"/>
                <a:cs typeface="Baskerville"/>
              </a:rPr>
              <a:t>:		17 </a:t>
            </a:r>
            <a:r>
              <a:rPr lang="en-US" sz="1400" dirty="0" err="1" smtClean="0">
                <a:latin typeface="Baskerville"/>
                <a:cs typeface="Baskerville"/>
              </a:rPr>
              <a:t>juli</a:t>
            </a:r>
            <a:endParaRPr lang="en-US" sz="1400" dirty="0" smtClean="0">
              <a:latin typeface="Baskerville"/>
              <a:cs typeface="Baskerville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err="1" smtClean="0">
                <a:latin typeface="Baskerville"/>
                <a:cs typeface="Baskerville"/>
              </a:rPr>
              <a:t>Tuinperformance</a:t>
            </a:r>
            <a:r>
              <a:rPr lang="en-US" sz="1400" dirty="0" smtClean="0">
                <a:latin typeface="Baskerville"/>
                <a:cs typeface="Baskerville"/>
              </a:rPr>
              <a:t> </a:t>
            </a:r>
            <a:r>
              <a:rPr lang="en-US" sz="1400" dirty="0" err="1" smtClean="0">
                <a:latin typeface="Baskerville"/>
                <a:cs typeface="Baskerville"/>
              </a:rPr>
              <a:t>buiten</a:t>
            </a:r>
            <a:r>
              <a:rPr lang="en-US" sz="1400" dirty="0" smtClean="0">
                <a:latin typeface="Baskerville"/>
                <a:cs typeface="Baskerville"/>
              </a:rPr>
              <a:t>:	25 </a:t>
            </a:r>
            <a:r>
              <a:rPr lang="en-US" sz="1400" dirty="0" err="1" smtClean="0">
                <a:latin typeface="Baskerville"/>
                <a:cs typeface="Baskerville"/>
              </a:rPr>
              <a:t>juli</a:t>
            </a:r>
            <a:endParaRPr lang="en-US" sz="1400" dirty="0" smtClean="0">
              <a:latin typeface="Baskerville"/>
              <a:cs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395857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Hicure</a:t>
            </a:r>
            <a:r>
              <a:rPr lang="en-US" dirty="0" smtClean="0"/>
              <a:t> make your plants stronger </a:t>
            </a:r>
            <a:endParaRPr lang="en-US" dirty="0"/>
          </a:p>
        </p:txBody>
      </p:sp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4183114968"/>
              </p:ext>
            </p:extLst>
          </p:nvPr>
        </p:nvGraphicFramePr>
        <p:xfrm>
          <a:off x="243651" y="3387922"/>
          <a:ext cx="3212068" cy="2243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3421520304"/>
              </p:ext>
            </p:extLst>
          </p:nvPr>
        </p:nvGraphicFramePr>
        <p:xfrm>
          <a:off x="138357" y="813391"/>
          <a:ext cx="3293611" cy="24241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Rounded Rectangle 24"/>
          <p:cNvSpPr/>
          <p:nvPr/>
        </p:nvSpPr>
        <p:spPr>
          <a:xfrm>
            <a:off x="6218641" y="2222071"/>
            <a:ext cx="2635086" cy="2629457"/>
          </a:xfrm>
          <a:prstGeom prst="roundRect">
            <a:avLst/>
          </a:prstGeom>
          <a:noFill/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dirty="0" err="1">
                <a:solidFill>
                  <a:schemeClr val="tx1"/>
                </a:solidFill>
                <a:latin typeface="Baskerville"/>
                <a:cs typeface="Baskerville"/>
              </a:rPr>
              <a:t>Hicure</a:t>
            </a:r>
            <a:r>
              <a:rPr lang="en-US" sz="1400" dirty="0">
                <a:solidFill>
                  <a:schemeClr val="tx1"/>
                </a:solidFill>
                <a:latin typeface="Baskerville"/>
                <a:cs typeface="Baskerville"/>
              </a:rPr>
              <a:t> enhances the vitality of the plants and makes them stronger against disease</a:t>
            </a:r>
          </a:p>
          <a:p>
            <a:endParaRPr lang="en-US" sz="1400" dirty="0" smtClean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Baskerville"/>
                <a:cs typeface="Baskerville"/>
              </a:rPr>
              <a:t>Delay in Botrytis development in the plants </a:t>
            </a:r>
            <a:r>
              <a:rPr lang="en-US" sz="1400" dirty="0">
                <a:solidFill>
                  <a:schemeClr val="tx1"/>
                </a:solidFill>
                <a:latin typeface="Baskerville"/>
                <a:cs typeface="Baskerville"/>
              </a:rPr>
              <a:t>&amp;</a:t>
            </a:r>
            <a:r>
              <a:rPr lang="en-US" sz="1400" dirty="0" smtClean="0">
                <a:solidFill>
                  <a:schemeClr val="tx1"/>
                </a:solidFill>
                <a:latin typeface="Baskerville"/>
                <a:cs typeface="Baskerville"/>
              </a:rPr>
              <a:t> on the flow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10052" y="5953427"/>
            <a:ext cx="2069145" cy="1164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900" dirty="0" smtClean="0">
                <a:latin typeface="Baskerville"/>
                <a:cs typeface="Baskerville"/>
              </a:rPr>
              <a:t>*DALA: days after last applicat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52328" y="5941429"/>
            <a:ext cx="1868891" cy="2196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  <a:latin typeface="Baskerville"/>
                <a:cs typeface="Baskerville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 trials: Botany NL</a:t>
            </a:r>
          </a:p>
        </p:txBody>
      </p:sp>
      <p:sp>
        <p:nvSpPr>
          <p:cNvPr id="32" name="Isosceles Triangle 31"/>
          <p:cNvSpPr/>
          <p:nvPr/>
        </p:nvSpPr>
        <p:spPr>
          <a:xfrm rot="5400000">
            <a:off x="5237994" y="3393293"/>
            <a:ext cx="1353789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114" y="5393804"/>
            <a:ext cx="1035833" cy="410611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341"/>
          <a:stretch/>
        </p:blipFill>
        <p:spPr bwMode="auto">
          <a:xfrm>
            <a:off x="3967751" y="1311259"/>
            <a:ext cx="1540560" cy="1927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ounded Rectangle 17"/>
          <p:cNvSpPr/>
          <p:nvPr/>
        </p:nvSpPr>
        <p:spPr>
          <a:xfrm>
            <a:off x="3811756" y="3178783"/>
            <a:ext cx="1852550" cy="31245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Baskerville"/>
                <a:cs typeface="Baskerville"/>
              </a:rPr>
              <a:t>Untreated</a:t>
            </a:r>
            <a:endParaRPr lang="en-US" sz="12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3633512" y="940788"/>
            <a:ext cx="2209035" cy="34458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/>
                </a:solidFill>
                <a:latin typeface="Baskerville"/>
                <a:cs typeface="Baskerville"/>
              </a:rPr>
              <a:t>Cyclamen*: 4 </a:t>
            </a:r>
            <a:r>
              <a:rPr lang="fr-FR" sz="1200" dirty="0" err="1" smtClean="0">
                <a:solidFill>
                  <a:schemeClr val="tx1"/>
                </a:solidFill>
                <a:latin typeface="Baskerville"/>
                <a:cs typeface="Baskerville"/>
              </a:rPr>
              <a:t>weeks</a:t>
            </a:r>
            <a:r>
              <a:rPr lang="fr-FR" sz="1200" dirty="0" smtClean="0">
                <a:solidFill>
                  <a:schemeClr val="tx1"/>
                </a:solidFill>
                <a:latin typeface="Baskerville"/>
                <a:cs typeface="Baskerville"/>
              </a:rPr>
              <a:t> at consumer phase </a:t>
            </a:r>
            <a:endParaRPr lang="fr-FR" sz="12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7749" y="3633736"/>
            <a:ext cx="1540560" cy="174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Isosceles Triangle 25"/>
          <p:cNvSpPr/>
          <p:nvPr/>
        </p:nvSpPr>
        <p:spPr>
          <a:xfrm rot="5400000">
            <a:off x="2492965" y="3464459"/>
            <a:ext cx="2020841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3593064" y="5892956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>
                <a:latin typeface="Baskerville"/>
                <a:cs typeface="Baskerville"/>
              </a:rPr>
              <a:t>Cyclamen: artificial infestation with Botrytis spores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42709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eldauwbestrijding</a:t>
            </a:r>
            <a:r>
              <a:rPr lang="en-US" dirty="0"/>
              <a:t> </a:t>
            </a:r>
            <a:r>
              <a:rPr lang="en-US" dirty="0" err="1"/>
              <a:t>roos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smtClean="0"/>
              <a:t>- </a:t>
            </a:r>
            <a:r>
              <a:rPr lang="en-US" dirty="0"/>
              <a:t>Red Naomi -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err="1" smtClean="0"/>
              <a:t>Hicure</a:t>
            </a:r>
            <a:r>
              <a:rPr lang="en-US" dirty="0" smtClean="0"/>
              <a:t> </a:t>
            </a:r>
            <a:r>
              <a:rPr lang="en-US" dirty="0" err="1" smtClean="0"/>
              <a:t>verbetert</a:t>
            </a:r>
            <a:r>
              <a:rPr lang="en-US" dirty="0" smtClean="0"/>
              <a:t> de </a:t>
            </a:r>
            <a:r>
              <a:rPr lang="en-US" dirty="0" err="1" smtClean="0"/>
              <a:t>weerbaarheid</a:t>
            </a:r>
            <a:r>
              <a:rPr lang="en-US" dirty="0" smtClean="0"/>
              <a:t> in </a:t>
            </a:r>
            <a:r>
              <a:rPr lang="en-US" dirty="0" err="1" smtClean="0"/>
              <a:t>roos</a:t>
            </a:r>
            <a:r>
              <a:rPr lang="en-US" dirty="0" smtClean="0"/>
              <a:t>. </a:t>
            </a:r>
          </a:p>
          <a:p>
            <a:endParaRPr lang="en-US" dirty="0"/>
          </a:p>
          <a:p>
            <a:r>
              <a:rPr lang="en-US" dirty="0" smtClean="0"/>
              <a:t>In </a:t>
            </a:r>
            <a:r>
              <a:rPr lang="en-US" dirty="0" err="1" smtClean="0"/>
              <a:t>combinatie</a:t>
            </a:r>
            <a:r>
              <a:rPr lang="en-US" dirty="0" smtClean="0"/>
              <a:t> met </a:t>
            </a:r>
            <a:r>
              <a:rPr lang="en-US" dirty="0" err="1" smtClean="0"/>
              <a:t>chemie</a:t>
            </a:r>
            <a:r>
              <a:rPr lang="en-US" dirty="0" smtClean="0"/>
              <a:t> </a:t>
            </a:r>
            <a:r>
              <a:rPr lang="en-US" dirty="0" err="1" smtClean="0"/>
              <a:t>wordt</a:t>
            </a:r>
            <a:r>
              <a:rPr lang="en-US" dirty="0" smtClean="0"/>
              <a:t> </a:t>
            </a:r>
            <a:r>
              <a:rPr lang="en-US" dirty="0" err="1" smtClean="0"/>
              <a:t>meeldauw</a:t>
            </a:r>
            <a:r>
              <a:rPr lang="en-US" dirty="0" smtClean="0"/>
              <a:t> </a:t>
            </a:r>
            <a:r>
              <a:rPr lang="en-US" dirty="0" err="1" smtClean="0"/>
              <a:t>beter</a:t>
            </a:r>
            <a:r>
              <a:rPr lang="en-US" dirty="0" smtClean="0"/>
              <a:t> </a:t>
            </a:r>
            <a:r>
              <a:rPr lang="en-US" dirty="0" err="1" smtClean="0"/>
              <a:t>beheersbaar</a:t>
            </a:r>
            <a:r>
              <a:rPr lang="en-US" dirty="0" smtClean="0"/>
              <a:t>.</a:t>
            </a:r>
            <a:endParaRPr lang="en-US" dirty="0"/>
          </a:p>
        </p:txBody>
      </p:sp>
      <p:graphicFrame>
        <p:nvGraphicFramePr>
          <p:cNvPr id="7" name="Content Placeholder 4"/>
          <p:cNvGraphicFramePr>
            <a:graphicFrameLocks noGrp="1"/>
          </p:cNvGraphicFramePr>
          <p:nvPr>
            <p:ph idx="1"/>
            <p:extLst/>
          </p:nvPr>
        </p:nvGraphicFramePr>
        <p:xfrm>
          <a:off x="2643188" y="1341438"/>
          <a:ext cx="6288087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42875" y="4972050"/>
            <a:ext cx="1933575" cy="9334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 smtClean="0">
                <a:latin typeface="Baskerville"/>
                <a:cs typeface="Baskerville"/>
              </a:rPr>
              <a:t>- Red Naomi (</a:t>
            </a:r>
            <a:r>
              <a:rPr lang="en-US" sz="1400" dirty="0" err="1" smtClean="0">
                <a:latin typeface="Baskerville"/>
                <a:cs typeface="Baskerville"/>
              </a:rPr>
              <a:t>praktijk</a:t>
            </a:r>
            <a:r>
              <a:rPr lang="en-US" sz="1400" dirty="0" smtClean="0">
                <a:latin typeface="Baskerville"/>
                <a:cs typeface="Baskerville"/>
              </a:rPr>
              <a:t>)</a:t>
            </a:r>
          </a:p>
          <a:p>
            <a:r>
              <a:rPr lang="en-US" sz="1400" dirty="0" smtClean="0">
                <a:latin typeface="Baskerville"/>
                <a:cs typeface="Baskerville"/>
              </a:rPr>
              <a:t>- 4 </a:t>
            </a:r>
            <a:r>
              <a:rPr lang="en-US" sz="1400" dirty="0" err="1" smtClean="0">
                <a:latin typeface="Baskerville"/>
                <a:cs typeface="Baskerville"/>
              </a:rPr>
              <a:t>toepassingen</a:t>
            </a:r>
            <a:endParaRPr lang="en-US" sz="1400" dirty="0" smtClean="0">
              <a:latin typeface="Baskerville"/>
              <a:cs typeface="Baskerville"/>
            </a:endParaRPr>
          </a:p>
          <a:p>
            <a:r>
              <a:rPr lang="en-US" sz="1400" dirty="0" smtClean="0">
                <a:latin typeface="Baskerville"/>
                <a:cs typeface="Baskerville"/>
              </a:rPr>
              <a:t>- 7 </a:t>
            </a:r>
            <a:r>
              <a:rPr lang="en-US" sz="1400" dirty="0" err="1" smtClean="0">
                <a:latin typeface="Baskerville"/>
                <a:cs typeface="Baskerville"/>
              </a:rPr>
              <a:t>dgn</a:t>
            </a:r>
            <a:r>
              <a:rPr lang="en-US" sz="1400" dirty="0" smtClean="0">
                <a:latin typeface="Baskerville"/>
                <a:cs typeface="Baskerville"/>
              </a:rPr>
              <a:t> interval</a:t>
            </a:r>
          </a:p>
          <a:p>
            <a:r>
              <a:rPr lang="en-US" sz="1400" dirty="0" smtClean="0">
                <a:latin typeface="Baskerville"/>
                <a:cs typeface="Baskerville"/>
              </a:rPr>
              <a:t>- </a:t>
            </a:r>
            <a:r>
              <a:rPr lang="en-US" sz="1400" dirty="0" err="1" smtClean="0">
                <a:latin typeface="Baskerville"/>
                <a:cs typeface="Baskerville"/>
              </a:rPr>
              <a:t>Juni</a:t>
            </a:r>
            <a:r>
              <a:rPr lang="en-US" sz="1400" dirty="0" smtClean="0">
                <a:latin typeface="Baskerville"/>
                <a:cs typeface="Baskerville"/>
              </a:rPr>
              <a:t> 2014</a:t>
            </a:r>
          </a:p>
        </p:txBody>
      </p:sp>
    </p:spTree>
    <p:extLst>
      <p:ext uri="{BB962C8B-B14F-4D97-AF65-F5344CB8AC3E}">
        <p14:creationId xmlns:p14="http://schemas.microsoft.com/office/powerpoint/2010/main" val="59752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7216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8" name="Picture 4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7091" y="4316196"/>
            <a:ext cx="1108111" cy="1468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4" name="Straight Connector 33"/>
          <p:cNvCxnSpPr/>
          <p:nvPr/>
        </p:nvCxnSpPr>
        <p:spPr>
          <a:xfrm>
            <a:off x="4226747" y="4114176"/>
            <a:ext cx="303" cy="317313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6322" y="0"/>
            <a:ext cx="6279077" cy="76002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de-CH" dirty="0" smtClean="0"/>
              <a:t>Use and recommendations in Pot &amp; bedding plants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29363"/>
              </p:ext>
            </p:extLst>
          </p:nvPr>
        </p:nvGraphicFramePr>
        <p:xfrm>
          <a:off x="1563214" y="1073903"/>
          <a:ext cx="7518768" cy="1804077"/>
        </p:xfrm>
        <a:graphic>
          <a:graphicData uri="http://schemas.openxmlformats.org/drawingml/2006/table">
            <a:tbl>
              <a:tblPr firstRow="1" firstCol="1" bandRow="1" bandCol="1">
                <a:tableStyleId>{5C22544A-7EE6-4342-B048-85BDC9FD1C3A}</a:tableStyleId>
              </a:tblPr>
              <a:tblGrid>
                <a:gridCol w="1068715"/>
                <a:gridCol w="907207"/>
                <a:gridCol w="1247434"/>
                <a:gridCol w="1647556"/>
                <a:gridCol w="1259203"/>
                <a:gridCol w="1388653"/>
              </a:tblGrid>
              <a:tr h="400906">
                <a:tc>
                  <a:txBody>
                    <a:bodyPr/>
                    <a:lstStyle/>
                    <a:p>
                      <a:pPr marR="62865"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Crop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Cultivation method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Treatment typ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Dose (product) per treatment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Minimum </a:t>
                      </a:r>
                      <a:r>
                        <a:rPr lang="nl-NL" sz="1200" dirty="0" smtClean="0">
                          <a:effectLst/>
                          <a:latin typeface="Baskerville"/>
                        </a:rPr>
                        <a:t>water volum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Recommended interval (days)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</a:tr>
              <a:tr h="400906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Pot plants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 smtClean="0">
                          <a:effectLst/>
                          <a:latin typeface="Baskerville"/>
                        </a:rPr>
                        <a:t>Greenhous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Foliar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125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125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5-7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09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25 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250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013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solidFill>
                            <a:schemeClr val="dk1"/>
                          </a:solidFill>
                          <a:effectLst/>
                          <a:latin typeface="Baskerville"/>
                          <a:ea typeface="+mn-ea"/>
                          <a:cs typeface="+mn-cs"/>
                        </a:rPr>
                        <a:t>Drench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25 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250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Drench with 10 </a:t>
                      </a:r>
                      <a:r>
                        <a:rPr lang="nl-NL" sz="1200" kern="1200" dirty="0">
                          <a:effectLst/>
                          <a:latin typeface="Baskerville"/>
                        </a:rPr>
                        <a:t>% </a:t>
                      </a: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of pot volume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8001068" y="4204805"/>
            <a:ext cx="303" cy="1574055"/>
          </a:xfrm>
          <a:prstGeom prst="line">
            <a:avLst/>
          </a:prstGeom>
          <a:ln w="6350">
            <a:solidFill>
              <a:srgbClr val="AC145A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959208" y="4149168"/>
            <a:ext cx="0" cy="1029085"/>
          </a:xfrm>
          <a:prstGeom prst="line">
            <a:avLst/>
          </a:prstGeom>
          <a:ln w="6350">
            <a:solidFill>
              <a:srgbClr val="AC145A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3161082" y="4307301"/>
            <a:ext cx="2074819" cy="346461"/>
          </a:xfrm>
          <a:prstGeom prst="rect">
            <a:avLst/>
          </a:prstGeom>
          <a:gradFill flip="none" rotWithShape="1">
            <a:gsLst>
              <a:gs pos="22000">
                <a:schemeClr val="accent3">
                  <a:lumMod val="40000"/>
                  <a:lumOff val="60000"/>
                </a:schemeClr>
              </a:gs>
              <a:gs pos="0">
                <a:schemeClr val="accent3">
                  <a:lumMod val="40000"/>
                  <a:lumOff val="60000"/>
                </a:schemeClr>
              </a:gs>
              <a:gs pos="61000">
                <a:schemeClr val="accent3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ounded Rectangle 10"/>
          <p:cNvSpPr/>
          <p:nvPr/>
        </p:nvSpPr>
        <p:spPr>
          <a:xfrm>
            <a:off x="1628326" y="3787189"/>
            <a:ext cx="1102999" cy="45126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 smtClean="0">
                <a:latin typeface="Baskerville"/>
              </a:rPr>
              <a:t>Planting</a:t>
            </a:r>
            <a:endParaRPr lang="en-US" sz="1200" b="1" dirty="0">
              <a:latin typeface="Baskerville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5722778" y="3793647"/>
            <a:ext cx="1196873" cy="45126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 smtClean="0">
                <a:latin typeface="Baskerville"/>
              </a:rPr>
              <a:t>Flower induction</a:t>
            </a:r>
            <a:endParaRPr lang="en-US" sz="1200" b="1" dirty="0">
              <a:latin typeface="Baskerville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923312" y="3793647"/>
            <a:ext cx="1080653" cy="45126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 smtClean="0">
                <a:latin typeface="Baskerville"/>
              </a:rPr>
              <a:t>Flowering</a:t>
            </a:r>
            <a:endParaRPr lang="en-US" sz="1200" b="1" dirty="0">
              <a:latin typeface="Baskerville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622590" y="4307301"/>
            <a:ext cx="1888212" cy="346461"/>
          </a:xfrm>
          <a:prstGeom prst="rect">
            <a:avLst/>
          </a:prstGeom>
          <a:gradFill flip="none" rotWithShape="1">
            <a:gsLst>
              <a:gs pos="85000">
                <a:schemeClr val="accent3">
                  <a:lumMod val="40000"/>
                  <a:lumOff val="60000"/>
                </a:schemeClr>
              </a:gs>
              <a:gs pos="73000">
                <a:srgbClr val="AC145A"/>
              </a:gs>
              <a:gs pos="99000">
                <a:schemeClr val="accent3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/>
          <p:cNvSpPr/>
          <p:nvPr/>
        </p:nvSpPr>
        <p:spPr>
          <a:xfrm>
            <a:off x="6711356" y="4307301"/>
            <a:ext cx="1292610" cy="346461"/>
          </a:xfrm>
          <a:prstGeom prst="rect">
            <a:avLst/>
          </a:prstGeom>
          <a:gradFill flip="none" rotWithShape="1">
            <a:gsLst>
              <a:gs pos="24000">
                <a:schemeClr val="accent3">
                  <a:lumMod val="40000"/>
                  <a:lumOff val="60000"/>
                </a:schemeClr>
              </a:gs>
              <a:gs pos="1000">
                <a:schemeClr val="accent3">
                  <a:lumMod val="40000"/>
                  <a:lumOff val="6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10800000" scaled="1"/>
            <a:tileRect/>
          </a:gra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TextBox 16"/>
          <p:cNvSpPr txBox="1"/>
          <p:nvPr/>
        </p:nvSpPr>
        <p:spPr>
          <a:xfrm>
            <a:off x="1622590" y="4307301"/>
            <a:ext cx="1319092" cy="3918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CH" sz="1200" dirty="0" smtClean="0">
                <a:solidFill>
                  <a:schemeClr val="bg1"/>
                </a:solidFill>
                <a:latin typeface="Baskerville"/>
                <a:cs typeface="Baskerville"/>
              </a:rPr>
              <a:t>weekly</a:t>
            </a:r>
            <a:endParaRPr lang="en-US" sz="1200" dirty="0" err="1" smtClean="0">
              <a:solidFill>
                <a:schemeClr val="bg1"/>
              </a:solidFill>
              <a:latin typeface="Baskerville"/>
              <a:cs typeface="Baskerville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563215" y="4673881"/>
            <a:ext cx="1522392" cy="33624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CH" sz="1200" dirty="0" smtClean="0">
                <a:latin typeface="Baskerville"/>
                <a:cs typeface="Baskerville"/>
              </a:rPr>
              <a:t>Drench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161083" y="4986378"/>
            <a:ext cx="2561694" cy="336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CH" sz="1200" dirty="0" smtClean="0">
                <a:latin typeface="Baskerville"/>
                <a:cs typeface="Baskerville"/>
              </a:rPr>
              <a:t>Foliar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730695" y="5303850"/>
            <a:ext cx="2175373" cy="3918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CH" sz="1200" dirty="0" smtClean="0">
                <a:latin typeface="Baskerville"/>
                <a:cs typeface="Baskerville"/>
              </a:rPr>
              <a:t>Foliar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23" name="Pentagon 22"/>
          <p:cNvSpPr/>
          <p:nvPr/>
        </p:nvSpPr>
        <p:spPr>
          <a:xfrm>
            <a:off x="95003" y="4676476"/>
            <a:ext cx="1700515" cy="333652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200" b="1" dirty="0" smtClean="0">
                <a:solidFill>
                  <a:schemeClr val="tx1"/>
                </a:solidFill>
                <a:latin typeface="Baskerville"/>
              </a:rPr>
              <a:t>Roots development</a:t>
            </a:r>
            <a:endParaRPr lang="en-US" sz="1200" b="1" dirty="0">
              <a:solidFill>
                <a:schemeClr val="tx1"/>
              </a:solidFill>
              <a:latin typeface="Baskerville"/>
            </a:endParaRPr>
          </a:p>
        </p:txBody>
      </p:sp>
      <p:sp>
        <p:nvSpPr>
          <p:cNvPr id="24" name="Pentagon 23"/>
          <p:cNvSpPr/>
          <p:nvPr/>
        </p:nvSpPr>
        <p:spPr>
          <a:xfrm>
            <a:off x="95003" y="5042015"/>
            <a:ext cx="1700515" cy="333652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200" b="1" dirty="0" smtClean="0">
                <a:solidFill>
                  <a:schemeClr val="tx1"/>
                </a:solidFill>
                <a:latin typeface="Baskerville"/>
              </a:rPr>
              <a:t>Stress </a:t>
            </a:r>
            <a:r>
              <a:rPr lang="de-CH" sz="1200" b="1" dirty="0">
                <a:solidFill>
                  <a:schemeClr val="tx1"/>
                </a:solidFill>
                <a:latin typeface="Baskerville"/>
              </a:rPr>
              <a:t>mitigation</a:t>
            </a:r>
            <a:endParaRPr lang="en-US" sz="1200" b="1" dirty="0">
              <a:solidFill>
                <a:schemeClr val="tx1"/>
              </a:solidFill>
              <a:latin typeface="Baskerville"/>
            </a:endParaRPr>
          </a:p>
        </p:txBody>
      </p:sp>
      <p:sp>
        <p:nvSpPr>
          <p:cNvPr id="25" name="Pentagon 24"/>
          <p:cNvSpPr/>
          <p:nvPr/>
        </p:nvSpPr>
        <p:spPr>
          <a:xfrm>
            <a:off x="95003" y="5395679"/>
            <a:ext cx="1700515" cy="333652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200" b="1" dirty="0">
                <a:solidFill>
                  <a:schemeClr val="tx1"/>
                </a:solidFill>
                <a:latin typeface="Baskerville"/>
              </a:rPr>
              <a:t>Crop and shelf life</a:t>
            </a:r>
            <a:endParaRPr lang="en-US" sz="1200" b="1" dirty="0">
              <a:solidFill>
                <a:schemeClr val="tx1"/>
              </a:solidFill>
              <a:latin typeface="Baskerville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8003010" y="3787189"/>
            <a:ext cx="1078973" cy="45126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 smtClean="0">
                <a:latin typeface="Baskerville"/>
              </a:rPr>
              <a:t>Delivery</a:t>
            </a:r>
            <a:endParaRPr lang="en-US" sz="1200" b="1" dirty="0">
              <a:latin typeface="Baskerville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5730392" y="4204805"/>
            <a:ext cx="303" cy="1349728"/>
          </a:xfrm>
          <a:prstGeom prst="line">
            <a:avLst/>
          </a:prstGeom>
          <a:ln w="6350">
            <a:solidFill>
              <a:srgbClr val="AC145A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ounded Rectangle 27"/>
          <p:cNvSpPr/>
          <p:nvPr/>
        </p:nvSpPr>
        <p:spPr>
          <a:xfrm>
            <a:off x="2731324" y="3793647"/>
            <a:ext cx="2991453" cy="45126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 smtClean="0">
                <a:latin typeface="Baskerville"/>
              </a:rPr>
              <a:t>Crop development</a:t>
            </a:r>
            <a:br>
              <a:rPr lang="de-CH" sz="1200" b="1" dirty="0" smtClean="0">
                <a:latin typeface="Baskerville"/>
              </a:rPr>
            </a:br>
            <a:r>
              <a:rPr lang="de-CH" sz="1200" b="1" dirty="0" smtClean="0">
                <a:solidFill>
                  <a:schemeClr val="tx1"/>
                </a:solidFill>
                <a:latin typeface="Baskerville"/>
              </a:rPr>
              <a:t>(Pinching)</a:t>
            </a:r>
            <a:endParaRPr lang="en-US" sz="1200" b="1" dirty="0">
              <a:solidFill>
                <a:schemeClr val="tx1"/>
              </a:solidFill>
              <a:latin typeface="Baskerville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130139" y="4307301"/>
            <a:ext cx="2018806" cy="346461"/>
          </a:xfrm>
          <a:prstGeom prst="rect">
            <a:avLst/>
          </a:prstGeom>
          <a:gradFill flip="none" rotWithShape="1">
            <a:gsLst>
              <a:gs pos="85000">
                <a:schemeClr val="accent3">
                  <a:lumMod val="40000"/>
                  <a:lumOff val="60000"/>
                </a:schemeClr>
              </a:gs>
              <a:gs pos="73000">
                <a:srgbClr val="AC145A"/>
              </a:gs>
              <a:gs pos="99000">
                <a:schemeClr val="accent3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TextBox 18"/>
          <p:cNvSpPr txBox="1"/>
          <p:nvPr/>
        </p:nvSpPr>
        <p:spPr>
          <a:xfrm>
            <a:off x="5575643" y="4307301"/>
            <a:ext cx="1344007" cy="3918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CH" sz="1200" dirty="0" smtClean="0">
                <a:solidFill>
                  <a:schemeClr val="bg1"/>
                </a:solidFill>
                <a:latin typeface="Baskerville"/>
                <a:cs typeface="Baskerville"/>
              </a:rPr>
              <a:t>weekly</a:t>
            </a:r>
            <a:endParaRPr lang="en-US" sz="1200" dirty="0" err="1" smtClean="0">
              <a:solidFill>
                <a:schemeClr val="bg1"/>
              </a:solidFill>
              <a:latin typeface="Baskerville"/>
              <a:cs typeface="Baskerville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859477" y="4307301"/>
            <a:ext cx="768939" cy="346461"/>
          </a:xfrm>
          <a:prstGeom prst="rect">
            <a:avLst/>
          </a:prstGeom>
          <a:gradFill flip="none" rotWithShape="1">
            <a:gsLst>
              <a:gs pos="87000">
                <a:schemeClr val="accent3">
                  <a:lumMod val="40000"/>
                  <a:lumOff val="60000"/>
                </a:schemeClr>
              </a:gs>
              <a:gs pos="67000">
                <a:srgbClr val="AC145A"/>
              </a:gs>
              <a:gs pos="95000">
                <a:schemeClr val="accent3">
                  <a:lumMod val="20000"/>
                  <a:lumOff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2" name="TextBox 31"/>
          <p:cNvSpPr txBox="1"/>
          <p:nvPr/>
        </p:nvSpPr>
        <p:spPr>
          <a:xfrm>
            <a:off x="3859478" y="4297619"/>
            <a:ext cx="852064" cy="3918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CH" sz="1200" dirty="0" smtClean="0">
                <a:solidFill>
                  <a:schemeClr val="bg1"/>
                </a:solidFill>
                <a:latin typeface="Baskerville"/>
                <a:cs typeface="Baskerville"/>
              </a:rPr>
              <a:t>weekly</a:t>
            </a:r>
            <a:endParaRPr lang="en-US" sz="1200" dirty="0" err="1" smtClean="0">
              <a:solidFill>
                <a:schemeClr val="bg1"/>
              </a:solidFill>
              <a:latin typeface="Baskerville"/>
              <a:cs typeface="Baskerville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23313" y="4307301"/>
            <a:ext cx="1126231" cy="3918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CH" sz="1200" dirty="0" smtClean="0">
                <a:latin typeface="Baskerville"/>
                <a:cs typeface="Baskerville"/>
              </a:rPr>
              <a:t>Every 2 weeks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977307" y="4307301"/>
            <a:ext cx="1018478" cy="3918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CH" sz="1200" dirty="0" smtClean="0">
                <a:latin typeface="Baskerville"/>
                <a:cs typeface="Baskerville"/>
              </a:rPr>
              <a:t>Every 2 weeks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628416" y="4307301"/>
            <a:ext cx="1018478" cy="3918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CH" sz="1200" dirty="0" smtClean="0">
                <a:latin typeface="Baskerville"/>
                <a:cs typeface="Baskerville"/>
              </a:rPr>
              <a:t>Every 2 weeks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37" name="Pentagon 36"/>
          <p:cNvSpPr/>
          <p:nvPr/>
        </p:nvSpPr>
        <p:spPr>
          <a:xfrm>
            <a:off x="95003" y="4354298"/>
            <a:ext cx="1700515" cy="333652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200" b="1" dirty="0" smtClean="0">
                <a:solidFill>
                  <a:schemeClr val="tx1"/>
                </a:solidFill>
                <a:latin typeface="Baskerville"/>
              </a:rPr>
              <a:t>Hicure usage</a:t>
            </a:r>
            <a:endParaRPr lang="en-US" sz="1200" b="1" dirty="0">
              <a:solidFill>
                <a:schemeClr val="tx1"/>
              </a:solidFill>
              <a:latin typeface="Baskerville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5003" y="5953243"/>
            <a:ext cx="1868891" cy="2196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  <a:latin typeface="Baskerville"/>
                <a:cs typeface="Baskerville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ource trials: </a:t>
            </a:r>
            <a:r>
              <a:rPr lang="en-US" dirty="0" smtClean="0">
                <a:solidFill>
                  <a:srgbClr val="000000"/>
                </a:solidFill>
              </a:rPr>
              <a:t>Syngenta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543109" y="3467594"/>
            <a:ext cx="3685815" cy="2018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400" dirty="0" smtClean="0">
                <a:latin typeface="Baskerville"/>
                <a:cs typeface="Baskerville"/>
              </a:rPr>
              <a:t>Recommendation in Greenhouse </a:t>
            </a:r>
            <a:endParaRPr lang="en-US" sz="1400" dirty="0" err="1" smtClean="0">
              <a:latin typeface="Baskerville"/>
              <a:cs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1984784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8809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000">
              <a:latin typeface="Baskerville"/>
              <a:sym typeface="Baskervill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6322" y="0"/>
            <a:ext cx="6317673" cy="760021"/>
          </a:xfrm>
        </p:spPr>
        <p:txBody>
          <a:bodyPr anchor="b"/>
          <a:lstStyle/>
          <a:p>
            <a:r>
              <a:rPr lang="de-CH" dirty="0" smtClean="0"/>
              <a:t>Current European situation forces market changes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215270" y="1555667"/>
            <a:ext cx="8323088" cy="2992581"/>
          </a:xfrm>
          <a:prstGeom prst="roundRect">
            <a:avLst/>
          </a:prstGeom>
          <a:noFill/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Baskerville"/>
              </a:rPr>
              <a:t>Crisis impacts growers </a:t>
            </a:r>
            <a:r>
              <a:rPr lang="en-US" dirty="0">
                <a:solidFill>
                  <a:srgbClr val="000000"/>
                </a:solidFill>
                <a:latin typeface="Baskerville"/>
              </a:rPr>
              <a:t>and distribution channel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0000"/>
                </a:solidFill>
                <a:latin typeface="Baskerville"/>
              </a:rPr>
              <a:t>Plant </a:t>
            </a:r>
            <a:r>
              <a:rPr lang="en-US" dirty="0">
                <a:solidFill>
                  <a:srgbClr val="000000"/>
                </a:solidFill>
                <a:latin typeface="Baskerville"/>
              </a:rPr>
              <a:t>quality &amp; low </a:t>
            </a:r>
            <a:r>
              <a:rPr lang="en-US" dirty="0" smtClean="0">
                <a:solidFill>
                  <a:srgbClr val="000000"/>
                </a:solidFill>
                <a:latin typeface="Baskerville"/>
              </a:rPr>
              <a:t>residue </a:t>
            </a:r>
            <a:endParaRPr lang="en-US" dirty="0">
              <a:solidFill>
                <a:srgbClr val="000000"/>
              </a:solidFill>
              <a:latin typeface="Baskerville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0000"/>
                </a:solidFill>
                <a:latin typeface="Baskerville"/>
              </a:rPr>
              <a:t>Pressure </a:t>
            </a:r>
            <a:r>
              <a:rPr lang="en-US" dirty="0">
                <a:solidFill>
                  <a:srgbClr val="000000"/>
                </a:solidFill>
                <a:latin typeface="Baskerville"/>
              </a:rPr>
              <a:t>on profitability </a:t>
            </a:r>
            <a:endParaRPr lang="en-US" dirty="0" smtClean="0">
              <a:solidFill>
                <a:srgbClr val="000000"/>
              </a:solidFill>
              <a:latin typeface="Baskerville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Baskerville"/>
              </a:rPr>
              <a:t>Robustness &amp; shelf life </a:t>
            </a:r>
            <a:endParaRPr lang="en-US" dirty="0" smtClean="0">
              <a:solidFill>
                <a:srgbClr val="000000"/>
              </a:solidFill>
              <a:latin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Baskerville"/>
              </a:rPr>
              <a:t>Emphasis on sustainable solution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0000"/>
                </a:solidFill>
                <a:latin typeface="Baskerville"/>
              </a:rPr>
              <a:t>Retailers demand crop sustainability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 smtClean="0">
                <a:solidFill>
                  <a:srgbClr val="000000"/>
                </a:solidFill>
                <a:latin typeface="Baskerville"/>
              </a:rPr>
              <a:t>Growers look for </a:t>
            </a:r>
            <a:r>
              <a:rPr lang="en-US" dirty="0">
                <a:solidFill>
                  <a:srgbClr val="000000"/>
                </a:solidFill>
                <a:latin typeface="Baskerville"/>
              </a:rPr>
              <a:t>products which are compatible in crop </a:t>
            </a:r>
            <a:r>
              <a:rPr lang="en-US" dirty="0" smtClean="0">
                <a:solidFill>
                  <a:srgbClr val="000000"/>
                </a:solidFill>
                <a:latin typeface="Baskerville"/>
              </a:rPr>
              <a:t>program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rgbClr val="000000"/>
                </a:solidFill>
                <a:latin typeface="Baskerville"/>
              </a:rPr>
              <a:t>Consumers look for “greener” </a:t>
            </a:r>
            <a:r>
              <a:rPr lang="en-US" dirty="0" smtClean="0">
                <a:solidFill>
                  <a:srgbClr val="000000"/>
                </a:solidFill>
                <a:latin typeface="Baskerville"/>
              </a:rPr>
              <a:t>crops</a:t>
            </a:r>
            <a:endParaRPr lang="en-US" dirty="0">
              <a:solidFill>
                <a:srgbClr val="000000"/>
              </a:solidFill>
              <a:latin typeface="Baskerville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215270" y="5946993"/>
            <a:ext cx="5647557" cy="258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1000" dirty="0" smtClean="0">
                <a:latin typeface="Baskerville"/>
                <a:cs typeface="Baskerville"/>
              </a:rPr>
              <a:t>Source: ECPA, </a:t>
            </a:r>
            <a:r>
              <a:rPr lang="en-GB" sz="1000" dirty="0"/>
              <a:t>Italian research institute </a:t>
            </a:r>
            <a:r>
              <a:rPr lang="en-GB" sz="1000" dirty="0" err="1" smtClean="0"/>
              <a:t>Nomisma</a:t>
            </a:r>
            <a:r>
              <a:rPr lang="en-GB" sz="1000" dirty="0" smtClean="0"/>
              <a:t>, </a:t>
            </a:r>
            <a:r>
              <a:rPr lang="en-US" sz="1000" dirty="0"/>
              <a:t>Humboldt Forum for Food  </a:t>
            </a:r>
            <a:r>
              <a:rPr lang="en-US" sz="1000" dirty="0" smtClean="0"/>
              <a:t>&amp; ag </a:t>
            </a:r>
            <a:r>
              <a:rPr lang="en-US" sz="1000" dirty="0"/>
              <a:t>Agriculture </a:t>
            </a:r>
            <a:r>
              <a:rPr lang="en-GB" sz="1000" dirty="0" smtClean="0"/>
              <a:t> </a:t>
            </a:r>
            <a:endParaRPr lang="en-US" sz="1000" dirty="0" err="1" smtClean="0">
              <a:latin typeface="Baskerville"/>
              <a:cs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128129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Houdbaarheid</a:t>
            </a:r>
            <a:r>
              <a:rPr lang="en-US" dirty="0" smtClean="0"/>
              <a:t> </a:t>
            </a:r>
            <a:r>
              <a:rPr lang="en-US" dirty="0" err="1" smtClean="0"/>
              <a:t>Helleborus</a:t>
            </a:r>
            <a:r>
              <a:rPr lang="en-US" dirty="0" smtClean="0"/>
              <a:t> </a:t>
            </a:r>
            <a:r>
              <a:rPr lang="en-US" dirty="0" err="1" smtClean="0"/>
              <a:t>orientalis</a:t>
            </a:r>
            <a:r>
              <a:rPr lang="en-US" dirty="0" smtClean="0"/>
              <a:t> (</a:t>
            </a:r>
            <a:r>
              <a:rPr lang="en-US" dirty="0" err="1" smtClean="0"/>
              <a:t>snij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1"/>
            <a:ext cx="8229600" cy="1676399"/>
          </a:xfrm>
        </p:spPr>
        <p:txBody>
          <a:bodyPr/>
          <a:lstStyle/>
          <a:p>
            <a:r>
              <a:rPr lang="en-US" sz="1600" dirty="0" smtClean="0"/>
              <a:t>PT project </a:t>
            </a:r>
            <a:r>
              <a:rPr lang="en-US" sz="1600" dirty="0" err="1" smtClean="0"/>
              <a:t>Helleborus</a:t>
            </a:r>
            <a:r>
              <a:rPr lang="en-US" sz="1600" dirty="0" smtClean="0"/>
              <a:t> </a:t>
            </a:r>
            <a:r>
              <a:rPr lang="en-US" sz="1600" dirty="0" err="1" smtClean="0"/>
              <a:t>als</a:t>
            </a:r>
            <a:r>
              <a:rPr lang="en-US" sz="1600" dirty="0" smtClean="0"/>
              <a:t> </a:t>
            </a:r>
            <a:r>
              <a:rPr lang="en-US" sz="1600" dirty="0" err="1" smtClean="0"/>
              <a:t>houdbare</a:t>
            </a:r>
            <a:r>
              <a:rPr lang="en-US" sz="1600" dirty="0" smtClean="0"/>
              <a:t> </a:t>
            </a:r>
            <a:r>
              <a:rPr lang="en-US" sz="1600" dirty="0" err="1" smtClean="0"/>
              <a:t>snijbloem</a:t>
            </a:r>
            <a:endParaRPr lang="en-US" sz="1600" dirty="0" smtClean="0"/>
          </a:p>
          <a:p>
            <a:r>
              <a:rPr lang="en-US" sz="1600" dirty="0" err="1" smtClean="0"/>
              <a:t>Uitgevoerd</a:t>
            </a:r>
            <a:r>
              <a:rPr lang="en-US" sz="1600" dirty="0" smtClean="0"/>
              <a:t> door Nieves Garcia, </a:t>
            </a:r>
            <a:r>
              <a:rPr lang="en-US" sz="1600" dirty="0" err="1"/>
              <a:t>W</a:t>
            </a:r>
            <a:r>
              <a:rPr lang="en-US" sz="1600" dirty="0" err="1" smtClean="0"/>
              <a:t>ageningen</a:t>
            </a:r>
            <a:r>
              <a:rPr lang="en-US" sz="1600" dirty="0" smtClean="0"/>
              <a:t> UR </a:t>
            </a:r>
            <a:r>
              <a:rPr lang="en-US" sz="1600" dirty="0" err="1" smtClean="0"/>
              <a:t>glastuinbouw</a:t>
            </a:r>
            <a:endParaRPr lang="en-US" sz="1600" dirty="0" smtClean="0"/>
          </a:p>
          <a:p>
            <a:r>
              <a:rPr lang="en-US" sz="1600" dirty="0" err="1" smtClean="0"/>
              <a:t>Oogstdatum</a:t>
            </a:r>
            <a:r>
              <a:rPr lang="en-US" sz="1600" dirty="0" smtClean="0"/>
              <a:t> 12 </a:t>
            </a:r>
            <a:r>
              <a:rPr lang="en-US" sz="1600" dirty="0" err="1" smtClean="0"/>
              <a:t>februari</a:t>
            </a:r>
            <a:r>
              <a:rPr lang="en-US" sz="1600" dirty="0" smtClean="0"/>
              <a:t>, op de </a:t>
            </a:r>
            <a:r>
              <a:rPr lang="en-US" sz="1600" dirty="0" err="1" smtClean="0"/>
              <a:t>vaas</a:t>
            </a:r>
            <a:r>
              <a:rPr lang="en-US" sz="1600" dirty="0" smtClean="0"/>
              <a:t> 13 </a:t>
            </a:r>
            <a:r>
              <a:rPr lang="en-US" sz="1600" dirty="0" err="1" smtClean="0"/>
              <a:t>februari</a:t>
            </a:r>
            <a:endParaRPr lang="en-US" sz="1600" dirty="0" smtClean="0"/>
          </a:p>
          <a:p>
            <a:r>
              <a:rPr lang="en-US" sz="1600" dirty="0" err="1" smtClean="0"/>
              <a:t>Soort</a:t>
            </a:r>
            <a:r>
              <a:rPr lang="en-US" sz="1600" dirty="0" smtClean="0"/>
              <a:t>: Queens white</a:t>
            </a:r>
          </a:p>
          <a:p>
            <a:r>
              <a:rPr lang="en-US" sz="1600" dirty="0" err="1" smtClean="0"/>
              <a:t>Geen</a:t>
            </a:r>
            <a:r>
              <a:rPr lang="en-US" sz="1600" dirty="0" smtClean="0"/>
              <a:t> </a:t>
            </a:r>
            <a:r>
              <a:rPr lang="en-US" sz="1600" dirty="0" err="1" smtClean="0"/>
              <a:t>voorbehandelingsmiddel</a:t>
            </a:r>
            <a:endParaRPr lang="en-US" sz="1600" dirty="0" smtClean="0"/>
          </a:p>
          <a:p>
            <a:r>
              <a:rPr lang="en-US" sz="1600" dirty="0" err="1" smtClean="0"/>
              <a:t>Behandeling</a:t>
            </a:r>
            <a:r>
              <a:rPr lang="en-US" sz="1600" dirty="0" smtClean="0"/>
              <a:t> 3x </a:t>
            </a:r>
            <a:r>
              <a:rPr lang="en-US" sz="1600" dirty="0" err="1" smtClean="0"/>
              <a:t>wekelijks</a:t>
            </a:r>
            <a:r>
              <a:rPr lang="en-US" sz="1600" dirty="0" smtClean="0"/>
              <a:t> met 125 ml </a:t>
            </a:r>
            <a:r>
              <a:rPr lang="en-US" sz="1600" dirty="0" err="1" smtClean="0"/>
              <a:t>Hicure</a:t>
            </a:r>
            <a:r>
              <a:rPr lang="en-US" sz="1600" dirty="0" smtClean="0"/>
              <a:t> per 100 </a:t>
            </a:r>
            <a:r>
              <a:rPr lang="en-US" sz="1600" dirty="0" err="1" smtClean="0"/>
              <a:t>ltr</a:t>
            </a:r>
            <a:r>
              <a:rPr lang="en-US" sz="1600" dirty="0" smtClean="0"/>
              <a:t> water, 1000 </a:t>
            </a:r>
            <a:r>
              <a:rPr lang="en-US" sz="1600" dirty="0" err="1" smtClean="0"/>
              <a:t>ltr</a:t>
            </a:r>
            <a:r>
              <a:rPr lang="en-US" sz="1600" dirty="0" smtClean="0"/>
              <a:t> per ha</a:t>
            </a:r>
            <a:endParaRPr lang="en-US" sz="1600" dirty="0"/>
          </a:p>
        </p:txBody>
      </p:sp>
      <p:graphicFrame>
        <p:nvGraphicFramePr>
          <p:cNvPr id="4" name="Content Placeholder 4"/>
          <p:cNvGraphicFramePr>
            <a:graphicFrameLocks/>
          </p:cNvGraphicFramePr>
          <p:nvPr>
            <p:extLst/>
          </p:nvPr>
        </p:nvGraphicFramePr>
        <p:xfrm>
          <a:off x="552450" y="3209925"/>
          <a:ext cx="6553200" cy="2609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6355809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Further informat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9461" y="3603812"/>
            <a:ext cx="6289162" cy="2403553"/>
          </a:xfrm>
        </p:spPr>
        <p:txBody>
          <a:bodyPr/>
          <a:lstStyle/>
          <a:p>
            <a:r>
              <a:rPr lang="de-CH" dirty="0" smtClean="0"/>
              <a:t>Product availability When</a:t>
            </a:r>
          </a:p>
          <a:p>
            <a:r>
              <a:rPr lang="de-CH" dirty="0" smtClean="0"/>
              <a:t>Contact</a:t>
            </a:r>
          </a:p>
          <a:p>
            <a:r>
              <a:rPr lang="de-CH" dirty="0" smtClean="0"/>
              <a:t>Information products (Tech brochure, Leaflet, website)</a:t>
            </a:r>
          </a:p>
          <a:p>
            <a:endParaRPr lang="de-CH" dirty="0" smtClean="0"/>
          </a:p>
        </p:txBody>
      </p:sp>
      <p:sp>
        <p:nvSpPr>
          <p:cNvPr id="4" name="Rectangle 3"/>
          <p:cNvSpPr/>
          <p:nvPr/>
        </p:nvSpPr>
        <p:spPr>
          <a:xfrm>
            <a:off x="7708739" y="219919"/>
            <a:ext cx="1238491" cy="8102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dirty="0" smtClean="0">
                <a:solidFill>
                  <a:srgbClr val="FFC000"/>
                </a:solidFill>
              </a:rPr>
              <a:t>Karin R</a:t>
            </a:r>
            <a:endParaRPr lang="en-US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59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8197" y="219919"/>
            <a:ext cx="6267202" cy="5282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de-CH" dirty="0"/>
              <a:t>Q&amp;A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999" y="1769423"/>
            <a:ext cx="8653745" cy="4076594"/>
          </a:xfrm>
        </p:spPr>
        <p:txBody>
          <a:bodyPr wrap="square" tIns="0" bIns="0">
            <a:noAutofit/>
          </a:bodyPr>
          <a:lstStyle/>
          <a:p>
            <a:pPr>
              <a:lnSpc>
                <a:spcPct val="150000"/>
              </a:lnSpc>
            </a:pPr>
            <a:r>
              <a:rPr lang="de-CH" sz="1800" dirty="0" smtClean="0"/>
              <a:t>Is it mixable with growth regulators like Bonzi</a:t>
            </a:r>
            <a:r>
              <a:rPr lang="de-CH" sz="1800" dirty="0"/>
              <a:t>, Carax, Dazide Enhance, </a:t>
            </a:r>
            <a:r>
              <a:rPr lang="de-CH" sz="1800" dirty="0" err="1" smtClean="0"/>
              <a:t>Regalis</a:t>
            </a:r>
            <a:r>
              <a:rPr lang="de-CH" sz="1800" dirty="0" smtClean="0"/>
              <a:t> </a:t>
            </a:r>
            <a:r>
              <a:rPr lang="de-CH" sz="1800" dirty="0"/>
              <a:t>? </a:t>
            </a:r>
            <a:endParaRPr lang="de-CH" sz="1800" dirty="0" smtClean="0"/>
          </a:p>
          <a:p>
            <a:pPr>
              <a:lnSpc>
                <a:spcPct val="150000"/>
              </a:lnSpc>
            </a:pPr>
            <a:r>
              <a:rPr lang="de-CH" sz="1800" dirty="0" err="1" smtClean="0"/>
              <a:t>Is</a:t>
            </a:r>
            <a:r>
              <a:rPr lang="de-CH" sz="1800" dirty="0" smtClean="0"/>
              <a:t> </a:t>
            </a:r>
            <a:r>
              <a:rPr lang="de-CH" sz="1800" dirty="0" err="1"/>
              <a:t>it</a:t>
            </a:r>
            <a:r>
              <a:rPr lang="de-CH" sz="1800" dirty="0"/>
              <a:t> </a:t>
            </a:r>
            <a:r>
              <a:rPr lang="de-CH" sz="1800" dirty="0" err="1"/>
              <a:t>mixable</a:t>
            </a:r>
            <a:r>
              <a:rPr lang="de-CH" sz="1800" dirty="0"/>
              <a:t> </a:t>
            </a:r>
            <a:r>
              <a:rPr lang="de-CH" sz="1800" dirty="0" err="1"/>
              <a:t>with</a:t>
            </a:r>
            <a:r>
              <a:rPr lang="de-CH" sz="1800" dirty="0"/>
              <a:t> </a:t>
            </a:r>
            <a:r>
              <a:rPr lang="de-CH" sz="1800" dirty="0" err="1"/>
              <a:t>fungicides</a:t>
            </a:r>
            <a:r>
              <a:rPr lang="de-CH" sz="1800" dirty="0"/>
              <a:t> </a:t>
            </a:r>
            <a:r>
              <a:rPr lang="de-CH" sz="1800" dirty="0" err="1"/>
              <a:t>like</a:t>
            </a:r>
            <a:r>
              <a:rPr lang="de-CH" sz="1800" dirty="0"/>
              <a:t> Switch / </a:t>
            </a:r>
            <a:r>
              <a:rPr lang="de-CH" sz="1800" dirty="0" err="1"/>
              <a:t>Ortiva</a:t>
            </a:r>
            <a:r>
              <a:rPr lang="de-CH" sz="1800" dirty="0"/>
              <a:t>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050" dirty="0" smtClean="0">
                <a:solidFill>
                  <a:srgbClr val="0070C0"/>
                </a:solidFill>
              </a:rPr>
              <a:t>HICURE </a:t>
            </a:r>
            <a:r>
              <a:rPr lang="en-US" sz="1050" dirty="0">
                <a:solidFill>
                  <a:srgbClr val="0070C0"/>
                </a:solidFill>
              </a:rPr>
              <a:t>can be </a:t>
            </a:r>
            <a:r>
              <a:rPr lang="en-US" sz="1050" dirty="0" err="1">
                <a:solidFill>
                  <a:srgbClr val="0070C0"/>
                </a:solidFill>
              </a:rPr>
              <a:t>tankmixed</a:t>
            </a:r>
            <a:r>
              <a:rPr lang="en-US" sz="1050" dirty="0">
                <a:solidFill>
                  <a:srgbClr val="0070C0"/>
                </a:solidFill>
              </a:rPr>
              <a:t> with a large number of products amongst others fertilizers and most crop protection </a:t>
            </a:r>
            <a:r>
              <a:rPr lang="en-US" sz="1050" dirty="0" smtClean="0">
                <a:solidFill>
                  <a:srgbClr val="0070C0"/>
                </a:solidFill>
              </a:rPr>
              <a:t>products, test are done an no negative effects are observed. </a:t>
            </a:r>
            <a:r>
              <a:rPr lang="en-US" sz="1050" dirty="0">
                <a:solidFill>
                  <a:srgbClr val="0070C0"/>
                </a:solidFill>
              </a:rPr>
              <a:t>A test application on a small area is recommended if there is no experience with a certain mixture to avoid crop damage. Precautionary mixtures with more than two products are discouraged. Do not use </a:t>
            </a:r>
            <a:r>
              <a:rPr lang="en-US" sz="1050" dirty="0" err="1">
                <a:solidFill>
                  <a:srgbClr val="0070C0"/>
                </a:solidFill>
              </a:rPr>
              <a:t>Hicure</a:t>
            </a:r>
            <a:r>
              <a:rPr lang="en-US" sz="1050" dirty="0">
                <a:solidFill>
                  <a:srgbClr val="0070C0"/>
                </a:solidFill>
              </a:rPr>
              <a:t> in combination with </a:t>
            </a:r>
            <a:r>
              <a:rPr lang="en-US" sz="1050" dirty="0" err="1">
                <a:solidFill>
                  <a:srgbClr val="0070C0"/>
                </a:solidFill>
              </a:rPr>
              <a:t>sulphur</a:t>
            </a:r>
            <a:r>
              <a:rPr lang="en-US" sz="1050" dirty="0">
                <a:solidFill>
                  <a:srgbClr val="0070C0"/>
                </a:solidFill>
              </a:rPr>
              <a:t>, mineral oils or cupper containing products as this can cause serious crop damage.</a:t>
            </a:r>
          </a:p>
          <a:p>
            <a:pPr>
              <a:lnSpc>
                <a:spcPct val="150000"/>
              </a:lnSpc>
            </a:pPr>
            <a:r>
              <a:rPr lang="de-CH" sz="1800" dirty="0" err="1" smtClean="0"/>
              <a:t>Is</a:t>
            </a:r>
            <a:r>
              <a:rPr lang="de-CH" sz="1800" dirty="0" smtClean="0"/>
              <a:t> there a Phytotox risk in young </a:t>
            </a:r>
            <a:r>
              <a:rPr lang="de-CH" sz="1800" dirty="0"/>
              <a:t>plants</a:t>
            </a:r>
            <a:r>
              <a:rPr lang="de-CH" sz="1800" dirty="0" smtClean="0"/>
              <a:t>?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CH" sz="1050" dirty="0" err="1" smtClean="0">
                <a:solidFill>
                  <a:srgbClr val="0070C0"/>
                </a:solidFill>
              </a:rPr>
              <a:t>Hicur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i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tested</a:t>
            </a:r>
            <a:r>
              <a:rPr lang="de-CH" sz="1050" dirty="0" smtClean="0">
                <a:solidFill>
                  <a:srgbClr val="0070C0"/>
                </a:solidFill>
              </a:rPr>
              <a:t> in </a:t>
            </a:r>
            <a:r>
              <a:rPr lang="de-CH" sz="1050" dirty="0" err="1" smtClean="0">
                <a:solidFill>
                  <a:srgbClr val="0070C0"/>
                </a:solidFill>
              </a:rPr>
              <a:t>young</a:t>
            </a:r>
            <a:r>
              <a:rPr lang="de-CH" sz="1050" dirty="0" smtClean="0">
                <a:solidFill>
                  <a:srgbClr val="0070C0"/>
                </a:solidFill>
              </a:rPr>
              <a:t> plant </a:t>
            </a:r>
            <a:r>
              <a:rPr lang="de-CH" sz="1050" dirty="0" err="1" smtClean="0">
                <a:solidFill>
                  <a:srgbClr val="0070C0"/>
                </a:solidFill>
              </a:rPr>
              <a:t>production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of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several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crop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and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nog</a:t>
            </a:r>
            <a:r>
              <a:rPr lang="de-CH" sz="1050" dirty="0" smtClean="0">
                <a:solidFill>
                  <a:srgbClr val="0070C0"/>
                </a:solidFill>
              </a:rPr>
              <a:t> negative </a:t>
            </a:r>
            <a:r>
              <a:rPr lang="de-CH" sz="1050" dirty="0" err="1" smtClean="0">
                <a:solidFill>
                  <a:srgbClr val="0070C0"/>
                </a:solidFill>
              </a:rPr>
              <a:t>effect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ar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observerd</a:t>
            </a:r>
            <a:r>
              <a:rPr lang="de-CH" sz="1050" dirty="0" smtClean="0">
                <a:solidFill>
                  <a:srgbClr val="0070C0"/>
                </a:solidFill>
              </a:rPr>
              <a:t>. </a:t>
            </a:r>
            <a:r>
              <a:rPr lang="en-US" sz="1050" dirty="0">
                <a:solidFill>
                  <a:srgbClr val="0070C0"/>
                </a:solidFill>
              </a:rPr>
              <a:t>A test application on a small area is recommended if there is no experience </a:t>
            </a:r>
            <a:r>
              <a:rPr lang="en-US" sz="1050" dirty="0" smtClean="0">
                <a:solidFill>
                  <a:srgbClr val="0070C0"/>
                </a:solidFill>
              </a:rPr>
              <a:t>with a crop</a:t>
            </a:r>
            <a:endParaRPr lang="de-CH" sz="1050" dirty="0" smtClean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195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8197" y="219919"/>
            <a:ext cx="6267202" cy="52822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de-CH" dirty="0"/>
              <a:t>Q&amp;A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999" y="1769423"/>
            <a:ext cx="8653745" cy="4076594"/>
          </a:xfrm>
        </p:spPr>
        <p:txBody>
          <a:bodyPr wrap="square" tIns="0" bIns="0">
            <a:noAutofit/>
          </a:bodyPr>
          <a:lstStyle/>
          <a:p>
            <a:pPr>
              <a:lnSpc>
                <a:spcPct val="150000"/>
              </a:lnSpc>
            </a:pPr>
            <a:r>
              <a:rPr lang="de-CH" sz="1800" dirty="0" err="1" smtClean="0"/>
              <a:t>What</a:t>
            </a:r>
            <a:r>
              <a:rPr lang="de-CH" sz="1800" dirty="0" smtClean="0"/>
              <a:t> is the amount </a:t>
            </a:r>
            <a:r>
              <a:rPr lang="de-CH" sz="1800" dirty="0"/>
              <a:t>of water to use by spraying / drenching of the different </a:t>
            </a:r>
            <a:r>
              <a:rPr lang="de-CH" sz="1800" dirty="0" err="1"/>
              <a:t>crops</a:t>
            </a:r>
            <a:r>
              <a:rPr lang="de-CH" sz="1800" dirty="0" smtClean="0"/>
              <a:t>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CH" sz="1050" dirty="0" err="1" smtClean="0">
                <a:solidFill>
                  <a:srgbClr val="0070C0"/>
                </a:solidFill>
              </a:rPr>
              <a:t>For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foliar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application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w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recommend</a:t>
            </a:r>
            <a:r>
              <a:rPr lang="de-CH" sz="1050" dirty="0" smtClean="0">
                <a:solidFill>
                  <a:srgbClr val="0070C0"/>
                </a:solidFill>
              </a:rPr>
              <a:t> 1.000 – 1.500 </a:t>
            </a:r>
            <a:r>
              <a:rPr lang="de-CH" sz="1050" dirty="0" err="1" smtClean="0">
                <a:solidFill>
                  <a:srgbClr val="0070C0"/>
                </a:solidFill>
              </a:rPr>
              <a:t>liter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of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water</a:t>
            </a:r>
            <a:r>
              <a:rPr lang="de-CH" sz="1050" dirty="0" smtClean="0">
                <a:solidFill>
                  <a:srgbClr val="0070C0"/>
                </a:solidFill>
              </a:rPr>
              <a:t> per ha. </a:t>
            </a:r>
            <a:r>
              <a:rPr lang="de-CH" sz="1050" dirty="0" err="1" smtClean="0">
                <a:solidFill>
                  <a:srgbClr val="0070C0"/>
                </a:solidFill>
              </a:rPr>
              <a:t>Drench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rate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ar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depending</a:t>
            </a:r>
            <a:r>
              <a:rPr lang="de-CH" sz="1050" dirty="0" smtClean="0">
                <a:solidFill>
                  <a:srgbClr val="0070C0"/>
                </a:solidFill>
              </a:rPr>
              <a:t> on </a:t>
            </a:r>
            <a:r>
              <a:rPr lang="de-CH" sz="1050" dirty="0" err="1" smtClean="0">
                <a:solidFill>
                  <a:srgbClr val="0070C0"/>
                </a:solidFill>
              </a:rPr>
              <a:t>potsiz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and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number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of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plants</a:t>
            </a:r>
            <a:r>
              <a:rPr lang="de-CH" sz="1050" dirty="0" smtClean="0">
                <a:solidFill>
                  <a:srgbClr val="0070C0"/>
                </a:solidFill>
              </a:rPr>
              <a:t> per ha. </a:t>
            </a:r>
            <a:r>
              <a:rPr lang="de-CH" sz="1050" dirty="0" err="1" smtClean="0">
                <a:solidFill>
                  <a:srgbClr val="0070C0"/>
                </a:solidFill>
              </a:rPr>
              <a:t>Recommandation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i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to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make</a:t>
            </a:r>
            <a:r>
              <a:rPr lang="de-CH" sz="1050" dirty="0" smtClean="0">
                <a:solidFill>
                  <a:srgbClr val="0070C0"/>
                </a:solidFill>
              </a:rPr>
              <a:t> a </a:t>
            </a:r>
            <a:r>
              <a:rPr lang="de-CH" sz="1050" dirty="0" err="1" smtClean="0">
                <a:solidFill>
                  <a:srgbClr val="0070C0"/>
                </a:solidFill>
              </a:rPr>
              <a:t>solution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of</a:t>
            </a:r>
            <a:r>
              <a:rPr lang="de-CH" sz="1050" dirty="0" smtClean="0">
                <a:solidFill>
                  <a:srgbClr val="0070C0"/>
                </a:solidFill>
              </a:rPr>
              <a:t> 0.25% </a:t>
            </a:r>
            <a:r>
              <a:rPr lang="de-CH" sz="1050" dirty="0" err="1" smtClean="0">
                <a:solidFill>
                  <a:srgbClr val="0070C0"/>
                </a:solidFill>
              </a:rPr>
              <a:t>and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drench</a:t>
            </a:r>
            <a:r>
              <a:rPr lang="de-CH" sz="1050" dirty="0" smtClean="0">
                <a:solidFill>
                  <a:srgbClr val="0070C0"/>
                </a:solidFill>
              </a:rPr>
              <a:t> per </a:t>
            </a:r>
            <a:r>
              <a:rPr lang="de-CH" sz="1050" dirty="0" err="1" smtClean="0">
                <a:solidFill>
                  <a:srgbClr val="0070C0"/>
                </a:solidFill>
              </a:rPr>
              <a:t>pot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with</a:t>
            </a:r>
            <a:r>
              <a:rPr lang="de-CH" sz="1050" dirty="0" smtClean="0">
                <a:solidFill>
                  <a:srgbClr val="0070C0"/>
                </a:solidFill>
              </a:rPr>
              <a:t> 10% </a:t>
            </a:r>
            <a:r>
              <a:rPr lang="de-CH" sz="1050" dirty="0" err="1" smtClean="0">
                <a:solidFill>
                  <a:srgbClr val="0070C0"/>
                </a:solidFill>
              </a:rPr>
              <a:t>of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th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potvolum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de-CH" sz="1800" dirty="0" smtClean="0"/>
              <a:t>What is </a:t>
            </a:r>
            <a:r>
              <a:rPr lang="de-CH" sz="1800" dirty="0"/>
              <a:t>the optimal temperature to apply the </a:t>
            </a:r>
            <a:r>
              <a:rPr lang="de-CH" sz="1800" dirty="0" err="1"/>
              <a:t>product</a:t>
            </a:r>
            <a:r>
              <a:rPr lang="de-CH" sz="1800" dirty="0"/>
              <a:t> </a:t>
            </a:r>
            <a:r>
              <a:rPr lang="de-CH" sz="1800" dirty="0" smtClean="0"/>
              <a:t>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CH" sz="1050" dirty="0" err="1" smtClean="0">
                <a:solidFill>
                  <a:srgbClr val="0070C0"/>
                </a:solidFill>
              </a:rPr>
              <a:t>Hicur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is</a:t>
            </a:r>
            <a:r>
              <a:rPr lang="de-CH" sz="1050" dirty="0" smtClean="0">
                <a:solidFill>
                  <a:srgbClr val="0070C0"/>
                </a:solidFill>
              </a:rPr>
              <a:t> not sensitive </a:t>
            </a:r>
            <a:r>
              <a:rPr lang="de-CH" sz="1050" dirty="0" err="1" smtClean="0">
                <a:solidFill>
                  <a:srgbClr val="0070C0"/>
                </a:solidFill>
              </a:rPr>
              <a:t>for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temperature</a:t>
            </a:r>
            <a:r>
              <a:rPr lang="de-CH" sz="1050" dirty="0" smtClean="0">
                <a:solidFill>
                  <a:srgbClr val="0070C0"/>
                </a:solidFill>
              </a:rPr>
              <a:t>. </a:t>
            </a:r>
            <a:r>
              <a:rPr lang="de-CH" sz="1050" dirty="0" err="1" smtClean="0">
                <a:solidFill>
                  <a:srgbClr val="0070C0"/>
                </a:solidFill>
              </a:rPr>
              <a:t>At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lower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temperature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th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plants</a:t>
            </a:r>
            <a:r>
              <a:rPr lang="de-CH" sz="1050" dirty="0" smtClean="0">
                <a:solidFill>
                  <a:srgbClr val="0070C0"/>
                </a:solidFill>
              </a:rPr>
              <a:t> will </a:t>
            </a:r>
            <a:r>
              <a:rPr lang="de-CH" sz="1050" dirty="0" err="1" smtClean="0">
                <a:solidFill>
                  <a:srgbClr val="0070C0"/>
                </a:solidFill>
              </a:rPr>
              <a:t>b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les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activ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which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might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result</a:t>
            </a:r>
            <a:r>
              <a:rPr lang="de-CH" sz="1050" dirty="0" smtClean="0">
                <a:solidFill>
                  <a:srgbClr val="0070C0"/>
                </a:solidFill>
              </a:rPr>
              <a:t> in a </a:t>
            </a:r>
            <a:r>
              <a:rPr lang="de-CH" sz="1050" dirty="0" err="1" smtClean="0">
                <a:solidFill>
                  <a:srgbClr val="0070C0"/>
                </a:solidFill>
              </a:rPr>
              <a:t>reduced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uptake</a:t>
            </a:r>
            <a:endParaRPr lang="de-CH" sz="1050" dirty="0" smtClean="0">
              <a:solidFill>
                <a:srgbClr val="0070C0"/>
              </a:solidFill>
            </a:endParaRPr>
          </a:p>
          <a:p>
            <a:pPr>
              <a:lnSpc>
                <a:spcPct val="150000"/>
              </a:lnSpc>
            </a:pPr>
            <a:r>
              <a:rPr lang="de-CH" sz="1800" dirty="0" smtClean="0"/>
              <a:t>What is </a:t>
            </a:r>
            <a:r>
              <a:rPr lang="de-CH" sz="1800" dirty="0" err="1" smtClean="0"/>
              <a:t>the</a:t>
            </a:r>
            <a:r>
              <a:rPr lang="de-CH" sz="1800" dirty="0" smtClean="0"/>
              <a:t> </a:t>
            </a:r>
            <a:r>
              <a:rPr lang="de-CH" sz="1800" dirty="0" err="1" smtClean="0"/>
              <a:t>effect</a:t>
            </a:r>
            <a:r>
              <a:rPr lang="de-CH" sz="1800" dirty="0" smtClean="0"/>
              <a:t> on root development when dripping the </a:t>
            </a:r>
            <a:r>
              <a:rPr lang="de-CH" sz="1800" dirty="0" err="1" smtClean="0"/>
              <a:t>product</a:t>
            </a:r>
            <a:r>
              <a:rPr lang="de-CH" sz="1800" dirty="0" smtClean="0"/>
              <a:t> 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CH" sz="1050" dirty="0" smtClean="0">
                <a:solidFill>
                  <a:srgbClr val="0070C0"/>
                </a:solidFill>
              </a:rPr>
              <a:t>In </a:t>
            </a:r>
            <a:r>
              <a:rPr lang="de-CH" sz="1050" dirty="0" err="1" smtClean="0">
                <a:solidFill>
                  <a:srgbClr val="0070C0"/>
                </a:solidFill>
              </a:rPr>
              <a:t>test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it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i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proven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that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roots</a:t>
            </a:r>
            <a:r>
              <a:rPr lang="de-CH" sz="1050" dirty="0" smtClean="0">
                <a:solidFill>
                  <a:srgbClr val="0070C0"/>
                </a:solidFill>
              </a:rPr>
              <a:t> do </a:t>
            </a:r>
            <a:r>
              <a:rPr lang="de-CH" sz="1050" dirty="0" err="1" smtClean="0">
                <a:solidFill>
                  <a:srgbClr val="0070C0"/>
                </a:solidFill>
              </a:rPr>
              <a:t>develop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better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with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drenches</a:t>
            </a:r>
            <a:r>
              <a:rPr lang="de-CH" sz="1050" dirty="0" smtClean="0">
                <a:solidFill>
                  <a:srgbClr val="0070C0"/>
                </a:solidFill>
              </a:rPr>
              <a:t>. In </a:t>
            </a:r>
            <a:r>
              <a:rPr lang="de-CH" sz="1050" dirty="0" err="1" smtClean="0">
                <a:solidFill>
                  <a:srgbClr val="0070C0"/>
                </a:solidFill>
              </a:rPr>
              <a:t>th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first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week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th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difference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ar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small</a:t>
            </a:r>
            <a:r>
              <a:rPr lang="de-CH" sz="1050" dirty="0" smtClean="0">
                <a:solidFill>
                  <a:srgbClr val="0070C0"/>
                </a:solidFill>
              </a:rPr>
              <a:t> but </a:t>
            </a:r>
            <a:r>
              <a:rPr lang="de-CH" sz="1050" dirty="0" err="1" smtClean="0">
                <a:solidFill>
                  <a:srgbClr val="0070C0"/>
                </a:solidFill>
              </a:rPr>
              <a:t>root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development</a:t>
            </a:r>
            <a:r>
              <a:rPr lang="de-CH" sz="1050" dirty="0" smtClean="0">
                <a:solidFill>
                  <a:srgbClr val="0070C0"/>
                </a:solidFill>
              </a:rPr>
              <a:t> will </a:t>
            </a:r>
            <a:r>
              <a:rPr lang="de-CH" sz="1050" dirty="0" err="1" smtClean="0">
                <a:solidFill>
                  <a:srgbClr val="0070C0"/>
                </a:solidFill>
              </a:rPr>
              <a:t>contnue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longer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with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drenches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of</a:t>
            </a:r>
            <a:r>
              <a:rPr lang="de-CH" sz="1050" dirty="0" smtClean="0">
                <a:solidFill>
                  <a:srgbClr val="0070C0"/>
                </a:solidFill>
              </a:rPr>
              <a:t> </a:t>
            </a:r>
            <a:r>
              <a:rPr lang="de-CH" sz="1050" dirty="0" err="1" smtClean="0">
                <a:solidFill>
                  <a:srgbClr val="0070C0"/>
                </a:solidFill>
              </a:rPr>
              <a:t>Hicure</a:t>
            </a:r>
            <a:endParaRPr lang="de-CH" sz="1050" dirty="0" smtClean="0">
              <a:solidFill>
                <a:srgbClr val="0070C0"/>
              </a:solidFill>
            </a:endParaRPr>
          </a:p>
          <a:p>
            <a:pPr>
              <a:lnSpc>
                <a:spcPct val="150000"/>
              </a:lnSpc>
            </a:pPr>
            <a:r>
              <a:rPr lang="de-CH" sz="1800" dirty="0" smtClean="0"/>
              <a:t>What is the optimal temperature to store </a:t>
            </a:r>
            <a:r>
              <a:rPr lang="de-CH" sz="1800" dirty="0" err="1" smtClean="0"/>
              <a:t>Hicure</a:t>
            </a:r>
            <a:r>
              <a:rPr lang="de-CH" sz="1800" dirty="0" smtClean="0"/>
              <a:t>?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050" dirty="0" smtClean="0">
                <a:solidFill>
                  <a:srgbClr val="0070C0"/>
                </a:solidFill>
              </a:rPr>
              <a:t>HICURE doesn’t </a:t>
            </a:r>
            <a:r>
              <a:rPr lang="en-US" sz="1050" dirty="0">
                <a:solidFill>
                  <a:srgbClr val="0070C0"/>
                </a:solidFill>
              </a:rPr>
              <a:t>contain any preservatives and is stable for more years provided stored in closed packaging. It is recommended to store the product in a well-ventilated place at a temperature between 0 and 25°C. Do not expose the packaging to direct sunlight</a:t>
            </a:r>
            <a:r>
              <a:rPr lang="en-US" sz="1050" dirty="0" smtClean="0">
                <a:solidFill>
                  <a:srgbClr val="0070C0"/>
                </a:solidFill>
              </a:rPr>
              <a:t>.</a:t>
            </a:r>
            <a:endParaRPr lang="en-US" sz="105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804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8197" y="0"/>
            <a:ext cx="6267202" cy="77550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en-US" dirty="0"/>
              <a:t>Amino acids </a:t>
            </a:r>
            <a:r>
              <a:rPr lang="en-US" dirty="0" smtClean="0"/>
              <a:t>play a key role in your crop development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436237" y="1845418"/>
            <a:ext cx="1378001" cy="1389107"/>
          </a:xfrm>
          <a:prstGeom prst="roundRect">
            <a:avLst/>
          </a:prstGeom>
          <a:solidFill>
            <a:srgbClr val="AC145A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b="1" dirty="0" smtClean="0">
                <a:latin typeface="Baskerville"/>
              </a:rPr>
              <a:t>Normal</a:t>
            </a:r>
            <a:endParaRPr lang="en-US" b="1" dirty="0">
              <a:latin typeface="Baskerville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927746" y="1845418"/>
            <a:ext cx="4151194" cy="1371509"/>
          </a:xfrm>
          <a:prstGeom prst="roundRect">
            <a:avLst/>
          </a:prstGeom>
          <a:solidFill>
            <a:srgbClr val="F2A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dirty="0">
                <a:latin typeface="Baskerville"/>
              </a:rPr>
              <a:t>Plants synthesize their own amino acids through thousands of chemical reactions and a significant use of </a:t>
            </a:r>
            <a:r>
              <a:rPr lang="en-US" dirty="0" smtClean="0">
                <a:latin typeface="Baskerville"/>
              </a:rPr>
              <a:t>energy</a:t>
            </a:r>
            <a:endParaRPr lang="en-US" dirty="0">
              <a:latin typeface="Baskerville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36236" y="3568381"/>
            <a:ext cx="1378002" cy="1383205"/>
          </a:xfrm>
          <a:prstGeom prst="roundRect">
            <a:avLst/>
          </a:prstGeom>
          <a:solidFill>
            <a:srgbClr val="AC145A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>
                <a:latin typeface="Baskerville"/>
              </a:rPr>
              <a:t>Stress/</a:t>
            </a:r>
            <a:br>
              <a:rPr lang="en-GB" b="1" dirty="0" smtClean="0">
                <a:latin typeface="Baskerville"/>
              </a:rPr>
            </a:br>
            <a:r>
              <a:rPr lang="en-GB" b="1" dirty="0" smtClean="0">
                <a:latin typeface="Baskerville"/>
              </a:rPr>
              <a:t>Sub-optimal</a:t>
            </a:r>
            <a:endParaRPr lang="en-US" b="1" dirty="0">
              <a:latin typeface="Baskerville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927746" y="3562479"/>
            <a:ext cx="4151194" cy="1389107"/>
          </a:xfrm>
          <a:prstGeom prst="roundRect">
            <a:avLst/>
          </a:prstGeom>
          <a:solidFill>
            <a:srgbClr val="F2A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/>
            <a:r>
              <a:rPr lang="en-GB" dirty="0" smtClean="0">
                <a:latin typeface="Baskerville"/>
              </a:rPr>
              <a:t>Plants </a:t>
            </a:r>
            <a:r>
              <a:rPr lang="en-GB" dirty="0">
                <a:latin typeface="Baskerville"/>
              </a:rPr>
              <a:t>decrease or stop the synthesis of </a:t>
            </a:r>
            <a:r>
              <a:rPr lang="en-GB" dirty="0" smtClean="0">
                <a:latin typeface="Baskerville"/>
              </a:rPr>
              <a:t>amino acids</a:t>
            </a:r>
            <a:r>
              <a:rPr lang="en-GB" dirty="0">
                <a:latin typeface="Baskerville"/>
              </a:rPr>
              <a:t> </a:t>
            </a:r>
            <a:r>
              <a:rPr lang="en-GB" dirty="0" smtClean="0">
                <a:latin typeface="Baskerville"/>
              </a:rPr>
              <a:t>and </a:t>
            </a:r>
            <a:r>
              <a:rPr lang="en-US" dirty="0" smtClean="0">
                <a:latin typeface="Baskerville"/>
              </a:rPr>
              <a:t>have </a:t>
            </a:r>
            <a:r>
              <a:rPr lang="en-US" dirty="0">
                <a:latin typeface="Baskerville"/>
              </a:rPr>
              <a:t>to hydrolyze or break down structural proteins to obtain the </a:t>
            </a:r>
            <a:r>
              <a:rPr lang="en-US" dirty="0" smtClean="0">
                <a:latin typeface="Baskerville"/>
              </a:rPr>
              <a:t>required amount or types of amino acids</a:t>
            </a:r>
            <a:endParaRPr lang="en-GB" dirty="0">
              <a:latin typeface="Baskerville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6468738" y="1845418"/>
            <a:ext cx="2383713" cy="3106169"/>
          </a:xfrm>
          <a:prstGeom prst="roundRect">
            <a:avLst/>
          </a:prstGeom>
          <a:solidFill>
            <a:schemeClr val="bg1"/>
          </a:solidFill>
          <a:ln>
            <a:solidFill>
              <a:srgbClr val="AC145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chemeClr val="tx1"/>
                </a:solidFill>
                <a:latin typeface="Baskerville"/>
              </a:rPr>
              <a:t>These </a:t>
            </a:r>
            <a:r>
              <a:rPr lang="en-US" dirty="0">
                <a:solidFill>
                  <a:schemeClr val="tx1"/>
                </a:solidFill>
                <a:latin typeface="Baskerville"/>
              </a:rPr>
              <a:t>activities require an extraordinary use of energy by plants and </a:t>
            </a:r>
            <a:r>
              <a:rPr lang="en-US" dirty="0" smtClean="0">
                <a:solidFill>
                  <a:schemeClr val="tx1"/>
                </a:solidFill>
                <a:latin typeface="Baskerville"/>
              </a:rPr>
              <a:t>consequently reduces quality of the plants and market value (€) </a:t>
            </a:r>
            <a:endParaRPr lang="en-US" dirty="0">
              <a:solidFill>
                <a:schemeClr val="tx1"/>
              </a:solidFill>
              <a:latin typeface="Baskerville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36236" y="1381592"/>
            <a:ext cx="217665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latin typeface="Baskerville"/>
              </a:rPr>
              <a:t>Growing conditions</a:t>
            </a:r>
            <a:endParaRPr lang="en-US" sz="1600" b="1" dirty="0">
              <a:latin typeface="Baskerville"/>
            </a:endParaRPr>
          </a:p>
        </p:txBody>
      </p:sp>
      <p:sp>
        <p:nvSpPr>
          <p:cNvPr id="19" name="Isosceles Triangle 18"/>
          <p:cNvSpPr/>
          <p:nvPr/>
        </p:nvSpPr>
        <p:spPr>
          <a:xfrm rot="5400000">
            <a:off x="5186706" y="3307091"/>
            <a:ext cx="2086981" cy="182821"/>
          </a:xfrm>
          <a:prstGeom prst="triangl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25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0073" y="0"/>
            <a:ext cx="6255326" cy="74814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de-CH" dirty="0" smtClean="0"/>
              <a:t>use </a:t>
            </a:r>
            <a:r>
              <a:rPr lang="de-CH" dirty="0"/>
              <a:t>and </a:t>
            </a:r>
            <a:r>
              <a:rPr lang="de-CH" dirty="0" smtClean="0"/>
              <a:t>recommandatio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3834421"/>
              </p:ext>
            </p:extLst>
          </p:nvPr>
        </p:nvGraphicFramePr>
        <p:xfrm>
          <a:off x="749300" y="907648"/>
          <a:ext cx="7480300" cy="5041899"/>
        </p:xfrm>
        <a:graphic>
          <a:graphicData uri="http://schemas.openxmlformats.org/drawingml/2006/table">
            <a:tbl>
              <a:tblPr firstRow="1" firstCol="1" bandRow="1" bandCol="1">
                <a:tableStyleId>{5C22544A-7EE6-4342-B048-85BDC9FD1C3A}</a:tableStyleId>
              </a:tblPr>
              <a:tblGrid>
                <a:gridCol w="1124959"/>
                <a:gridCol w="1246934"/>
                <a:gridCol w="1126263"/>
                <a:gridCol w="1716210"/>
                <a:gridCol w="1126263"/>
                <a:gridCol w="1139671"/>
              </a:tblGrid>
              <a:tr h="400906">
                <a:tc>
                  <a:txBody>
                    <a:bodyPr/>
                    <a:lstStyle/>
                    <a:p>
                      <a:pPr marR="62865"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Crop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Cultivation method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 smtClean="0">
                          <a:effectLst/>
                          <a:latin typeface="Baskerville"/>
                        </a:rPr>
                        <a:t>Application </a:t>
                      </a:r>
                      <a:r>
                        <a:rPr lang="nl-NL" sz="1200" dirty="0">
                          <a:effectLst/>
                          <a:latin typeface="Baskerville"/>
                        </a:rPr>
                        <a:t>typ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Dose (product) per treatment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Minimum </a:t>
                      </a:r>
                      <a:r>
                        <a:rPr lang="nl-NL" sz="1200" dirty="0" smtClean="0">
                          <a:effectLst/>
                          <a:latin typeface="Baskerville"/>
                        </a:rPr>
                        <a:t>water volum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Recommended interval (days)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</a:tr>
              <a:tr h="400906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Pot plants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 smtClean="0">
                          <a:effectLst/>
                          <a:latin typeface="Baskerville"/>
                        </a:rPr>
                        <a:t>Greenhous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Foliar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125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125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>
                          <a:effectLst/>
                          <a:latin typeface="Baskerville"/>
                        </a:rPr>
                        <a:t>5-7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09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25 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250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013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Drench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>
                          <a:effectLst/>
                          <a:latin typeface="Baskerville"/>
                        </a:rPr>
                        <a:t>0,25 %</a:t>
                      </a:r>
                      <a:endParaRPr lang="en-US" sz="1200" kern="120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>
                          <a:effectLst/>
                          <a:latin typeface="Baskerville"/>
                        </a:rPr>
                        <a:t>(250 ml / 100 L water)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Drench with 10% of</a:t>
                      </a:r>
                      <a:r>
                        <a:rPr lang="nl-NL" sz="1200" kern="1200" baseline="0" dirty="0" smtClean="0">
                          <a:effectLst/>
                          <a:latin typeface="Baskerville"/>
                        </a:rPr>
                        <a:t> pot </a:t>
                      </a: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volume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0906">
                <a:tc rowSpan="6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Cutflowers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200" dirty="0" smtClean="0">
                          <a:effectLst/>
                          <a:latin typeface="Baskerville"/>
                          <a:ea typeface="Times New Roman"/>
                        </a:rPr>
                        <a:t>Greenhous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Foliar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125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125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5-7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009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25 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250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009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Soil/ 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irrigation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2,5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solidFill>
                            <a:schemeClr val="dk1"/>
                          </a:solidFill>
                          <a:effectLst/>
                          <a:latin typeface="Baskerville"/>
                          <a:ea typeface="+mn-ea"/>
                          <a:cs typeface="+mn-cs"/>
                        </a:rPr>
                        <a:t>N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00453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8535" marR="18535" marT="0" marB="0"/>
                </a:tc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200" dirty="0" smtClean="0">
                          <a:effectLst/>
                          <a:latin typeface="Baskerville"/>
                          <a:ea typeface="Times New Roman"/>
                        </a:rPr>
                        <a:t>Field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Foliar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,25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4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5-7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157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2,5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4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157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effectLst/>
                          <a:latin typeface="Baskerville"/>
                        </a:rPr>
                        <a:t>Soil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2.5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 smtClean="0">
                          <a:solidFill>
                            <a:schemeClr val="dk1"/>
                          </a:solidFill>
                          <a:effectLst/>
                          <a:latin typeface="Baskerville"/>
                          <a:ea typeface="+mn-ea"/>
                          <a:cs typeface="+mn-cs"/>
                        </a:rPr>
                        <a:t>N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00906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>
                          <a:effectLst/>
                          <a:latin typeface="Baskerville"/>
                        </a:rPr>
                        <a:t>Tree nursery and perennials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/>
                </a:tc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nl-NL" sz="1200" dirty="0" smtClean="0">
                          <a:effectLst/>
                          <a:latin typeface="Baskerville"/>
                        </a:rPr>
                        <a:t>Greenhouse</a:t>
                      </a:r>
                      <a:endParaRPr lang="en-US" sz="1200" dirty="0">
                        <a:effectLst/>
                        <a:latin typeface="Baskerville"/>
                        <a:ea typeface="Times New Roman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Foliar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125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125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5-7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090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25 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250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00 L/ha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013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Drench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0,25 %</a:t>
                      </a:r>
                      <a:endParaRPr lang="en-US" sz="1200" kern="1200" dirty="0">
                        <a:effectLst/>
                        <a:latin typeface="Baskerville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(250 ml / 100 L water)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effectLst/>
                          <a:latin typeface="Baskerville"/>
                        </a:rPr>
                        <a:t>Drench with 10 % of the pot volume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nl-NL" sz="1200" kern="1200" dirty="0">
                          <a:effectLst/>
                          <a:latin typeface="Baskerville"/>
                        </a:rPr>
                        <a:t>10-14</a:t>
                      </a:r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Baskerville"/>
                        <a:ea typeface="+mn-ea"/>
                        <a:cs typeface="+mn-cs"/>
                      </a:endParaRPr>
                    </a:p>
                  </a:txBody>
                  <a:tcPr marL="18535" marR="18535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018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21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4447" y="194254"/>
            <a:ext cx="6290952" cy="56716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Your Highest concentrated product</a:t>
            </a:r>
            <a:endParaRPr lang="en-US" dirty="0"/>
          </a:p>
        </p:txBody>
      </p:sp>
      <p:graphicFrame>
        <p:nvGraphicFramePr>
          <p:cNvPr id="75" name="Object 7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03055847"/>
              </p:ext>
            </p:extLst>
          </p:nvPr>
        </p:nvGraphicFramePr>
        <p:xfrm>
          <a:off x="1257300" y="2400300"/>
          <a:ext cx="6076952" cy="2552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" name="Chart" r:id="rId15" imgW="6076909" imgH="2552762" progId="MSGraph.Chart.8">
                  <p:embed followColorScheme="full"/>
                </p:oleObj>
              </mc:Choice>
              <mc:Fallback>
                <p:oleObj name="Chart" r:id="rId15" imgW="6076909" imgH="255276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257300" y="2400300"/>
                        <a:ext cx="6076952" cy="25527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Text Placeholder 69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323013" y="5097463"/>
            <a:ext cx="6334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1EB842E-7539-477D-B0AB-C10D0BF3AEFF}" type="datetime'''''''''Or''g''''a''''n''i''c'''''''''''' Ca''r''''''bon'">
              <a:rPr lang="en-US" sz="1400">
                <a:latin typeface="Baskerville"/>
                <a:sym typeface="Baskerville"/>
              </a:rPr>
              <a:pPr/>
              <a:t>Organic Carbon</a:t>
            </a:fld>
            <a:endParaRPr lang="en-US" sz="1400" dirty="0">
              <a:latin typeface="Baskerville"/>
              <a:sym typeface="Baskerville"/>
            </a:endParaRPr>
          </a:p>
        </p:txBody>
      </p:sp>
      <p:sp>
        <p:nvSpPr>
          <p:cNvPr id="94" name="Text Placeholder 6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126038" y="5097463"/>
            <a:ext cx="6826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11A1F0B-65B0-48BD-9DF3-29B77475497A}" type="datetime'''''''N''''''i''''t''''''''''''ro''''''''g''''''''''''en'">
              <a:rPr lang="en-US" sz="1400">
                <a:latin typeface="Baskerville"/>
                <a:sym typeface="Baskerville"/>
              </a:rPr>
              <a:pPr/>
              <a:t>Nitrogen</a:t>
            </a:fld>
            <a:endParaRPr lang="en-US" sz="1400" dirty="0">
              <a:latin typeface="Baskerville"/>
              <a:sym typeface="Baskerville"/>
            </a:endParaRPr>
          </a:p>
        </p:txBody>
      </p:sp>
      <p:sp>
        <p:nvSpPr>
          <p:cNvPr id="16" name="Text Placeholder 1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313363" y="4722813"/>
            <a:ext cx="307975" cy="212725"/>
          </a:xfrm>
          <a:prstGeom prst="rect">
            <a:avLst/>
          </a:prstGeom>
          <a:solidFill>
            <a:srgbClr val="808080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1pPr>
            <a:lvl2pPr marL="447675" indent="-2714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2pPr>
            <a:lvl3pPr marL="623888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3pPr>
            <a:lvl4pPr marL="801688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4pPr>
            <a:lvl5pPr marL="989013" indent="-187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8BBAF04-72EE-4146-AAA9-7D732DA6E050}" type="datetime'''1''''''''''''''%''''''''''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1%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90" name="Text Placeholder 6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43363" y="5097463"/>
            <a:ext cx="5064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49BC594-ADA4-4194-9709-FA917FB67BE2}" type="datetime'As''''h''es'''''''''''">
              <a:rPr lang="en-US" sz="1400">
                <a:latin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Ashes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76" name="Text Placeholder 5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463675" y="5097463"/>
            <a:ext cx="97948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8D445CB-B4CF-4C15-89CC-043C1E37D169}" type="datetime'A''''m''i''''''''''no acid''s'' &amp; p''eptid''''e''''''s'''">
              <a:rPr lang="en-US" sz="1400">
                <a:latin typeface="Baskerville"/>
                <a:sym typeface="Baskerville"/>
              </a:rPr>
              <a:pPr/>
              <a:t>Amino acids &amp; peptides</a:t>
            </a:fld>
            <a:endParaRPr lang="en-US" sz="1400" dirty="0">
              <a:latin typeface="Baskerville"/>
              <a:sym typeface="Baskerville"/>
            </a:endParaRPr>
          </a:p>
        </p:txBody>
      </p:sp>
      <p:sp>
        <p:nvSpPr>
          <p:cNvPr id="19" name="Text Placeholder 6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41788" y="4665663"/>
            <a:ext cx="307975" cy="212725"/>
          </a:xfrm>
          <a:prstGeom prst="rect">
            <a:avLst/>
          </a:prstGeom>
          <a:solidFill>
            <a:srgbClr val="AC145A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1pPr>
            <a:lvl2pPr marL="447675" indent="-2714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2pPr>
            <a:lvl3pPr marL="623888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3pPr>
            <a:lvl4pPr marL="801688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4pPr>
            <a:lvl5pPr marL="989013" indent="-187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270B263-714E-4C9F-B5D9-E52D4EA5D6D6}" type="datetime'''''''''4''''''''''''''''''''''''''%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4%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89" name="Text Placeholder 6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84488" y="5097463"/>
            <a:ext cx="479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44504D0-0D69-467A-9972-52C6A6AB59C4}" type="datetime'W''''''''''a''t''''''''e''''''''''r'''''">
              <a:rPr lang="en-US" sz="1400">
                <a:latin typeface="Baskerville"/>
                <a:sym typeface="Baskerville"/>
              </a:rPr>
              <a:pPr/>
              <a:t>Water</a:t>
            </a:fld>
            <a:endParaRPr lang="en-US" sz="1400" dirty="0">
              <a:latin typeface="Baskerville"/>
              <a:sym typeface="Baskerville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1515940" y="1032493"/>
            <a:ext cx="5887695" cy="1080777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Baskerville"/>
              </a:rPr>
              <a:t>Composition: 62.5</a:t>
            </a:r>
            <a:r>
              <a:rPr lang="en-US" dirty="0">
                <a:solidFill>
                  <a:schemeClr val="tx1"/>
                </a:solidFill>
                <a:latin typeface="Baskerville"/>
              </a:rPr>
              <a:t>% w/w amino acids and </a:t>
            </a:r>
            <a:r>
              <a:rPr lang="en-US" dirty="0" smtClean="0">
                <a:solidFill>
                  <a:schemeClr val="tx1"/>
                </a:solidFill>
                <a:latin typeface="Baskerville"/>
              </a:rPr>
              <a:t>peptides</a:t>
            </a:r>
            <a:endParaRPr lang="en-US" dirty="0">
              <a:solidFill>
                <a:schemeClr val="tx1"/>
              </a:solidFill>
              <a:latin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>
                <a:solidFill>
                  <a:schemeClr val="tx1"/>
                </a:solidFill>
                <a:latin typeface="Baskerville"/>
              </a:rPr>
              <a:t>Formulation: Transparent </a:t>
            </a:r>
            <a:r>
              <a:rPr lang="de-CH" dirty="0">
                <a:solidFill>
                  <a:schemeClr val="tx1"/>
                </a:solidFill>
                <a:latin typeface="Baskerville"/>
              </a:rPr>
              <a:t>liquid (S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>
                <a:solidFill>
                  <a:schemeClr val="tx1"/>
                </a:solidFill>
                <a:latin typeface="Baskerville"/>
              </a:rPr>
              <a:t>Packaging: </a:t>
            </a:r>
            <a:r>
              <a:rPr lang="de-CH" dirty="0" smtClean="0">
                <a:solidFill>
                  <a:schemeClr val="tx1"/>
                </a:solidFill>
                <a:latin typeface="Baskerville"/>
              </a:rPr>
              <a:t>5 </a:t>
            </a:r>
            <a:r>
              <a:rPr lang="de-CH" dirty="0">
                <a:solidFill>
                  <a:schemeClr val="tx1"/>
                </a:solidFill>
                <a:latin typeface="Baskerville"/>
              </a:rPr>
              <a:t>liter S-Pac bottle</a:t>
            </a:r>
          </a:p>
        </p:txBody>
      </p:sp>
      <p:sp>
        <p:nvSpPr>
          <p:cNvPr id="4" name="Right Brace 3"/>
          <p:cNvSpPr/>
          <p:nvPr/>
        </p:nvSpPr>
        <p:spPr>
          <a:xfrm rot="5400000">
            <a:off x="2857591" y="3951670"/>
            <a:ext cx="359270" cy="3259467"/>
          </a:xfrm>
          <a:prstGeom prst="rightBrac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400318" y="5777344"/>
            <a:ext cx="1321315" cy="2018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400" dirty="0" smtClean="0">
                <a:latin typeface="Baskerville"/>
                <a:cs typeface="Baskerville"/>
              </a:rPr>
              <a:t>100%</a:t>
            </a:r>
            <a:endParaRPr lang="en-US" sz="1400" dirty="0" err="1" smtClean="0">
              <a:latin typeface="Baskerville"/>
              <a:cs typeface="Baskervill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15940" y="3633848"/>
            <a:ext cx="884378" cy="2493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200" dirty="0" smtClean="0">
                <a:solidFill>
                  <a:schemeClr val="bg1"/>
                </a:solidFill>
                <a:latin typeface="Baskerville"/>
                <a:cs typeface="Baskerville"/>
              </a:rPr>
              <a:t>Peptides</a:t>
            </a:r>
            <a:endParaRPr lang="en-US" sz="1200" dirty="0" err="1" smtClean="0">
              <a:solidFill>
                <a:schemeClr val="bg1"/>
              </a:solidFill>
              <a:latin typeface="Baskerville"/>
              <a:cs typeface="Baskerville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11230" y="4686402"/>
            <a:ext cx="884378" cy="2493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200" dirty="0" smtClean="0">
                <a:latin typeface="Baskerville"/>
                <a:cs typeface="Baskerville"/>
              </a:rPr>
              <a:t>Free AA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300041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963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6322" y="0"/>
            <a:ext cx="6279077" cy="77550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de-CH" dirty="0" smtClean="0"/>
              <a:t>Our belief in a sustainable world</a:t>
            </a:r>
            <a:endParaRPr lang="en-US" dirty="0"/>
          </a:p>
        </p:txBody>
      </p:sp>
      <p:sp>
        <p:nvSpPr>
          <p:cNvPr id="15" name="Oval 14"/>
          <p:cNvSpPr/>
          <p:nvPr/>
        </p:nvSpPr>
        <p:spPr>
          <a:xfrm>
            <a:off x="6658789" y="2208904"/>
            <a:ext cx="2232701" cy="2232701"/>
          </a:xfrm>
          <a:prstGeom prst="ellipse">
            <a:avLst/>
          </a:prstGeom>
          <a:noFill/>
          <a:ln w="28575">
            <a:solidFill>
              <a:srgbClr val="B00058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883" y="3063843"/>
            <a:ext cx="1675829" cy="664309"/>
          </a:xfrm>
          <a:prstGeom prst="rect">
            <a:avLst/>
          </a:prstGeom>
        </p:spPr>
      </p:pic>
      <p:sp>
        <p:nvSpPr>
          <p:cNvPr id="4" name="Rounded Rectangle 3"/>
          <p:cNvSpPr/>
          <p:nvPr/>
        </p:nvSpPr>
        <p:spPr>
          <a:xfrm>
            <a:off x="1529602" y="1497298"/>
            <a:ext cx="4775637" cy="1108330"/>
          </a:xfrm>
          <a:prstGeom prst="roundRect">
            <a:avLst/>
          </a:prstGeom>
          <a:solidFill>
            <a:srgbClr val="F2A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rgbClr val="B00058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Baskerville"/>
              </a:rPr>
              <a:t>We want to participate </a:t>
            </a:r>
            <a:r>
              <a:rPr lang="en-US" sz="1600" dirty="0" smtClean="0">
                <a:latin typeface="Baskerville"/>
              </a:rPr>
              <a:t>in </a:t>
            </a:r>
            <a:r>
              <a:rPr lang="en-US" sz="1600" dirty="0">
                <a:latin typeface="Baskerville"/>
              </a:rPr>
              <a:t>a sustainable </a:t>
            </a:r>
            <a:r>
              <a:rPr lang="en-US" sz="1600" dirty="0" smtClean="0">
                <a:latin typeface="Baskerville"/>
              </a:rPr>
              <a:t>world</a:t>
            </a:r>
            <a:endParaRPr lang="en-US" sz="1600" dirty="0">
              <a:latin typeface="Baskerville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1529602" y="2814122"/>
            <a:ext cx="4775637" cy="1108331"/>
          </a:xfrm>
          <a:prstGeom prst="roundRect">
            <a:avLst/>
          </a:prstGeom>
          <a:solidFill>
            <a:srgbClr val="F2A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rgbClr val="B00058"/>
              </a:buClr>
              <a:buFont typeface="Wingdings" panose="05000000000000000000" pitchFamily="2" charset="2"/>
              <a:buChar char="Ø"/>
            </a:pPr>
            <a:r>
              <a:rPr lang="en-US" sz="1600" dirty="0" smtClean="0">
                <a:latin typeface="Baskerville"/>
              </a:rPr>
              <a:t>By combining our expertise and your needs to develop a new natural product</a:t>
            </a:r>
            <a:endParaRPr lang="en-US" sz="1600" dirty="0">
              <a:latin typeface="Baskerville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1529602" y="4120604"/>
            <a:ext cx="4775637" cy="1141926"/>
          </a:xfrm>
          <a:prstGeom prst="roundRect">
            <a:avLst/>
          </a:prstGeom>
          <a:solidFill>
            <a:srgbClr val="F2A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rgbClr val="B00058"/>
              </a:buClr>
              <a:buFont typeface="Wingdings" panose="05000000000000000000" pitchFamily="2" charset="2"/>
              <a:buChar char="Ø"/>
            </a:pPr>
            <a:r>
              <a:rPr lang="en-US" sz="1600" dirty="0">
                <a:latin typeface="Baskerville"/>
              </a:rPr>
              <a:t>Biological stimulant</a:t>
            </a:r>
          </a:p>
          <a:p>
            <a:pPr marL="285750" indent="-285750">
              <a:buClr>
                <a:srgbClr val="B00058"/>
              </a:buClr>
              <a:buFont typeface="Wingdings" panose="05000000000000000000" pitchFamily="2" charset="2"/>
              <a:buChar char="Ø"/>
            </a:pPr>
            <a:r>
              <a:rPr lang="de-CH" sz="1600" dirty="0">
                <a:latin typeface="Baskerville"/>
              </a:rPr>
              <a:t>Improve quality and shelf life</a:t>
            </a:r>
          </a:p>
          <a:p>
            <a:pPr marL="285750" indent="-285750">
              <a:buClr>
                <a:srgbClr val="B00058"/>
              </a:buClr>
              <a:buFont typeface="Wingdings" panose="05000000000000000000" pitchFamily="2" charset="2"/>
              <a:buChar char="Ø"/>
            </a:pPr>
            <a:r>
              <a:rPr lang="de-CH" sz="1600" dirty="0">
                <a:latin typeface="Baskerville"/>
              </a:rPr>
              <a:t>Improve profitability</a:t>
            </a:r>
          </a:p>
          <a:p>
            <a:pPr marL="285750" indent="-285750">
              <a:buClr>
                <a:srgbClr val="B00058"/>
              </a:buClr>
              <a:buFont typeface="Wingdings" panose="05000000000000000000" pitchFamily="2" charset="2"/>
              <a:buChar char="Ø"/>
            </a:pPr>
            <a:r>
              <a:rPr lang="de-CH" sz="1600" dirty="0">
                <a:latin typeface="Baskerville"/>
              </a:rPr>
              <a:t>Fits in every crop </a:t>
            </a:r>
            <a:r>
              <a:rPr lang="de-CH" sz="1600" dirty="0" smtClean="0">
                <a:latin typeface="Baskerville"/>
              </a:rPr>
              <a:t>program</a:t>
            </a:r>
            <a:endParaRPr lang="de-CH" sz="1600" dirty="0">
              <a:latin typeface="Baskerville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254422" y="1497298"/>
            <a:ext cx="1111391" cy="1108331"/>
          </a:xfrm>
          <a:prstGeom prst="roundRect">
            <a:avLst/>
          </a:prstGeom>
          <a:solidFill>
            <a:srgbClr val="AC145A"/>
          </a:solidFill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400" dirty="0" smtClean="0">
                <a:latin typeface="Baskerville"/>
              </a:rPr>
              <a:t>Why</a:t>
            </a:r>
            <a:endParaRPr lang="en-US" sz="2400" dirty="0">
              <a:latin typeface="Baskerville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254422" y="2814122"/>
            <a:ext cx="1111391" cy="1108330"/>
          </a:xfrm>
          <a:prstGeom prst="roundRect">
            <a:avLst/>
          </a:prstGeom>
          <a:solidFill>
            <a:srgbClr val="AC145A"/>
          </a:solidFill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400" dirty="0" smtClean="0">
                <a:latin typeface="Baskerville"/>
              </a:rPr>
              <a:t>How</a:t>
            </a:r>
            <a:endParaRPr lang="en-US" sz="2400" dirty="0">
              <a:latin typeface="Baskerville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254422" y="4120604"/>
            <a:ext cx="1111391" cy="1141925"/>
          </a:xfrm>
          <a:prstGeom prst="roundRect">
            <a:avLst/>
          </a:prstGeom>
          <a:solidFill>
            <a:srgbClr val="AC145A"/>
          </a:solidFill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400" dirty="0" smtClean="0">
                <a:latin typeface="Baskerville"/>
              </a:rPr>
              <a:t>What</a:t>
            </a:r>
            <a:endParaRPr lang="en-US" sz="2400" dirty="0">
              <a:latin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1196972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20395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4212" y="1306285"/>
            <a:ext cx="2868895" cy="11372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0521" y="308758"/>
            <a:ext cx="6304878" cy="451263"/>
          </a:xfrm>
        </p:spPr>
        <p:txBody>
          <a:bodyPr anchor="b"/>
          <a:lstStyle/>
          <a:p>
            <a:r>
              <a:rPr lang="de-CH" dirty="0" smtClean="0"/>
              <a:t>Value of hicure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721436" y="3807032"/>
            <a:ext cx="2205990" cy="580572"/>
          </a:xfrm>
          <a:prstGeom prst="roundRect">
            <a:avLst/>
          </a:prstGeom>
          <a:solidFill>
            <a:srgbClr val="AC145A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dirty="0" smtClean="0">
                <a:latin typeface="Baskerville"/>
              </a:rPr>
              <a:t>Reliable</a:t>
            </a:r>
            <a:endParaRPr lang="en-US" dirty="0">
              <a:latin typeface="Baskerville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442781" y="3805041"/>
            <a:ext cx="2205992" cy="580572"/>
          </a:xfrm>
          <a:prstGeom prst="roundRect">
            <a:avLst/>
          </a:prstGeom>
          <a:solidFill>
            <a:srgbClr val="F2A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dirty="0" smtClean="0">
                <a:latin typeface="Baskerville"/>
              </a:rPr>
              <a:t>Powerful</a:t>
            </a:r>
            <a:endParaRPr lang="en-US" dirty="0">
              <a:latin typeface="Baskerville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721435" y="4523678"/>
            <a:ext cx="2205992" cy="914401"/>
          </a:xfrm>
          <a:prstGeom prst="roundRect">
            <a:avLst/>
          </a:prstGeom>
          <a:solidFill>
            <a:srgbClr val="AC145A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Baskerville"/>
              </a:rPr>
              <a:t>Proven </a:t>
            </a:r>
            <a:r>
              <a:rPr lang="en-US" sz="1200" dirty="0">
                <a:latin typeface="Baskerville"/>
              </a:rPr>
              <a:t>expertis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Baskerville"/>
              </a:rPr>
              <a:t>Crop </a:t>
            </a:r>
            <a:r>
              <a:rPr lang="en-US" sz="1200" dirty="0">
                <a:latin typeface="Baskerville"/>
              </a:rPr>
              <a:t>program </a:t>
            </a:r>
            <a:r>
              <a:rPr lang="en-US" sz="1200" dirty="0" smtClean="0">
                <a:latin typeface="Baskerville"/>
              </a:rPr>
              <a:t>compatibl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de-CH" sz="1200" dirty="0" smtClean="0">
                <a:latin typeface="Baskerville"/>
              </a:rPr>
              <a:t>Extensive trial results</a:t>
            </a:r>
            <a:endParaRPr lang="en-US" sz="1200" dirty="0">
              <a:latin typeface="Baskerville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4442781" y="4525669"/>
            <a:ext cx="2205992" cy="914401"/>
          </a:xfrm>
          <a:prstGeom prst="roundRect">
            <a:avLst/>
          </a:prstGeom>
          <a:solidFill>
            <a:srgbClr val="F2A900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de-CH" sz="1200" dirty="0">
                <a:latin typeface="Baskerville"/>
              </a:rPr>
              <a:t>Improved profitability</a:t>
            </a:r>
            <a:endParaRPr lang="en-US" sz="1200" dirty="0">
              <a:latin typeface="Baskerville"/>
            </a:endParaRP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de-CH" sz="1200" dirty="0">
                <a:latin typeface="Baskerville"/>
              </a:rPr>
              <a:t>Increased roots vigor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US" sz="1200" dirty="0">
                <a:latin typeface="Baskerville"/>
              </a:rPr>
              <a:t>Ease of use</a:t>
            </a:r>
          </a:p>
        </p:txBody>
      </p:sp>
      <p:sp>
        <p:nvSpPr>
          <p:cNvPr id="18" name="Isosceles Triangle 17"/>
          <p:cNvSpPr/>
          <p:nvPr/>
        </p:nvSpPr>
        <p:spPr>
          <a:xfrm rot="10800000">
            <a:off x="2466230" y="3555846"/>
            <a:ext cx="1494160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Isosceles Triangle 18"/>
          <p:cNvSpPr/>
          <p:nvPr/>
        </p:nvSpPr>
        <p:spPr>
          <a:xfrm rot="10800000">
            <a:off x="4798697" y="3538308"/>
            <a:ext cx="1494160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Isosceles Triangle 19"/>
          <p:cNvSpPr/>
          <p:nvPr/>
        </p:nvSpPr>
        <p:spPr>
          <a:xfrm rot="10800000">
            <a:off x="7077351" y="3555846"/>
            <a:ext cx="1494160" cy="144683"/>
          </a:xfrm>
          <a:prstGeom prst="triangle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/>
          <p:cNvSpPr/>
          <p:nvPr/>
        </p:nvSpPr>
        <p:spPr>
          <a:xfrm>
            <a:off x="2110314" y="3809023"/>
            <a:ext cx="2205992" cy="580572"/>
          </a:xfrm>
          <a:prstGeom prst="roundRect">
            <a:avLst/>
          </a:prstGeom>
          <a:solidFill>
            <a:srgbClr val="AC145A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dirty="0" smtClean="0">
                <a:latin typeface="Baskerville"/>
              </a:rPr>
              <a:t>Natural</a:t>
            </a:r>
            <a:endParaRPr lang="en-US" dirty="0">
              <a:latin typeface="Baskerville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2110313" y="4523676"/>
            <a:ext cx="2205992" cy="914401"/>
          </a:xfrm>
          <a:prstGeom prst="roundRect">
            <a:avLst/>
          </a:prstGeom>
          <a:solidFill>
            <a:srgbClr val="AC145A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de-CH" sz="1200" dirty="0">
                <a:latin typeface="Baskerville"/>
              </a:rPr>
              <a:t>Safe to crops and natur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de-CH" sz="1200" dirty="0">
                <a:latin typeface="Baskerville"/>
              </a:rPr>
              <a:t>Improved vitality </a:t>
            </a:r>
            <a:r>
              <a:rPr lang="de-CH" sz="1200" dirty="0" smtClean="0">
                <a:latin typeface="Baskerville"/>
              </a:rPr>
              <a:t>/ </a:t>
            </a:r>
            <a:r>
              <a:rPr lang="de-CH" sz="1200" dirty="0">
                <a:latin typeface="Baskerville"/>
              </a:rPr>
              <a:t>shelf life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de-CH" sz="1200" dirty="0">
                <a:latin typeface="Baskerville"/>
              </a:rPr>
              <a:t>Bio certified*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02225" y="5875026"/>
            <a:ext cx="224933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900" dirty="0" smtClean="0">
                <a:solidFill>
                  <a:srgbClr val="080808"/>
                </a:solidFill>
                <a:latin typeface="Baskerville"/>
              </a:rPr>
              <a:t>*Note: Natural origin </a:t>
            </a:r>
            <a:r>
              <a:rPr lang="de-CH" sz="900" u="sng" dirty="0" smtClean="0">
                <a:solidFill>
                  <a:srgbClr val="080808"/>
                </a:solidFill>
                <a:latin typeface="Baskerville"/>
              </a:rPr>
              <a:t>(</a:t>
            </a:r>
            <a:r>
              <a:rPr lang="de-CH" sz="900" u="sng" dirty="0">
                <a:solidFill>
                  <a:srgbClr val="080808"/>
                </a:solidFill>
                <a:latin typeface="Baskerville"/>
              </a:rPr>
              <a:t>acc. EU/354/2014)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046433" y="2301032"/>
            <a:ext cx="6998688" cy="1157467"/>
          </a:xfrm>
          <a:prstGeom prst="roundRect">
            <a:avLst/>
          </a:prstGeom>
          <a:solidFill>
            <a:schemeClr val="bg1"/>
          </a:solidFill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dirty="0" smtClean="0">
                <a:solidFill>
                  <a:schemeClr val="tx1"/>
                </a:solidFill>
                <a:latin typeface="Baskerville"/>
              </a:rPr>
              <a:t>The </a:t>
            </a:r>
            <a:r>
              <a:rPr lang="en-US" dirty="0">
                <a:solidFill>
                  <a:schemeClr val="tx1"/>
                </a:solidFill>
                <a:latin typeface="Baskerville"/>
              </a:rPr>
              <a:t>new p</a:t>
            </a:r>
            <a:r>
              <a:rPr lang="en-US" dirty="0" smtClean="0">
                <a:solidFill>
                  <a:schemeClr val="tx1"/>
                </a:solidFill>
                <a:latin typeface="Baskerville"/>
              </a:rPr>
              <a:t>owerful </a:t>
            </a:r>
            <a:r>
              <a:rPr lang="en-US" dirty="0" err="1">
                <a:solidFill>
                  <a:schemeClr val="tx1"/>
                </a:solidFill>
                <a:latin typeface="Baskerville"/>
              </a:rPr>
              <a:t>biostimulant</a:t>
            </a:r>
            <a:r>
              <a:rPr lang="en-US" dirty="0">
                <a:solidFill>
                  <a:schemeClr val="tx1"/>
                </a:solidFill>
                <a:latin typeface="Baskerville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Baskerville"/>
              </a:rPr>
              <a:t>which </a:t>
            </a:r>
            <a:r>
              <a:rPr lang="en-US" dirty="0">
                <a:solidFill>
                  <a:schemeClr val="tx1"/>
                </a:solidFill>
                <a:latin typeface="Baskerville"/>
              </a:rPr>
              <a:t>is safe in every aspect. You can </a:t>
            </a:r>
            <a:r>
              <a:rPr lang="en-US" dirty="0" smtClean="0">
                <a:solidFill>
                  <a:schemeClr val="tx1"/>
                </a:solidFill>
                <a:latin typeface="Baskerville"/>
              </a:rPr>
              <a:t>rely on </a:t>
            </a:r>
            <a:r>
              <a:rPr lang="en-US" dirty="0">
                <a:solidFill>
                  <a:schemeClr val="tx1"/>
                </a:solidFill>
                <a:latin typeface="Baskerville"/>
              </a:rPr>
              <a:t>to mitigate </a:t>
            </a:r>
            <a:r>
              <a:rPr lang="en-US" dirty="0" smtClean="0">
                <a:solidFill>
                  <a:schemeClr val="tx1"/>
                </a:solidFill>
                <a:latin typeface="Baskerville"/>
              </a:rPr>
              <a:t>stress ; it will </a:t>
            </a:r>
            <a:r>
              <a:rPr lang="en-US" dirty="0">
                <a:solidFill>
                  <a:schemeClr val="tx1"/>
                </a:solidFill>
                <a:latin typeface="Baskerville"/>
              </a:rPr>
              <a:t>provide </a:t>
            </a:r>
            <a:r>
              <a:rPr lang="en-US" dirty="0" smtClean="0">
                <a:solidFill>
                  <a:schemeClr val="tx1"/>
                </a:solidFill>
                <a:latin typeface="Baskerville"/>
              </a:rPr>
              <a:t>quality </a:t>
            </a:r>
            <a:r>
              <a:rPr lang="en-US" dirty="0">
                <a:solidFill>
                  <a:schemeClr val="tx1"/>
                </a:solidFill>
                <a:latin typeface="Baskerville"/>
              </a:rPr>
              <a:t>and shelf life to ensure </a:t>
            </a:r>
            <a:r>
              <a:rPr lang="en-US" dirty="0" smtClean="0">
                <a:solidFill>
                  <a:schemeClr val="tx1"/>
                </a:solidFill>
                <a:latin typeface="Baskerville"/>
              </a:rPr>
              <a:t>the value chain requirements.</a:t>
            </a:r>
            <a:endParaRPr lang="en-US" dirty="0">
              <a:solidFill>
                <a:schemeClr val="tx1"/>
              </a:solidFill>
              <a:latin typeface="Baskerville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58475" y="2600695"/>
            <a:ext cx="1229702" cy="55814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de-CH" sz="1600" b="1" dirty="0" smtClean="0">
                <a:latin typeface="Baskerville"/>
                <a:cs typeface="Baskerville"/>
              </a:rPr>
              <a:t>Product Positioning</a:t>
            </a:r>
            <a:endParaRPr lang="en-US" sz="1600" b="1" dirty="0" err="1" smtClean="0">
              <a:latin typeface="Baskerville"/>
              <a:cs typeface="Baskerville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7150" y="3841351"/>
            <a:ext cx="1408941" cy="55814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de-CH" sz="1600" b="1" dirty="0" smtClean="0">
                <a:latin typeface="Baskerville"/>
                <a:cs typeface="Baskerville"/>
              </a:rPr>
              <a:t>Value</a:t>
            </a:r>
            <a:endParaRPr lang="en-US" sz="1600" b="1" dirty="0" err="1" smtClean="0">
              <a:latin typeface="Baskerville"/>
              <a:cs typeface="Baskerville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58475" y="4701806"/>
            <a:ext cx="1243266" cy="55814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de-CH" sz="1600" b="1" dirty="0" smtClean="0">
                <a:latin typeface="Baskerville"/>
                <a:cs typeface="Baskerville"/>
              </a:rPr>
              <a:t>Benefits</a:t>
            </a:r>
            <a:endParaRPr lang="en-US" sz="1600" b="1" dirty="0" err="1" smtClean="0">
              <a:latin typeface="Baskerville"/>
              <a:cs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1653049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865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rapezoid 17"/>
          <p:cNvSpPr/>
          <p:nvPr/>
        </p:nvSpPr>
        <p:spPr>
          <a:xfrm>
            <a:off x="2777922" y="2905803"/>
            <a:ext cx="3484277" cy="1082860"/>
          </a:xfrm>
          <a:prstGeom prst="trapezoid">
            <a:avLst>
              <a:gd name="adj" fmla="val 90775"/>
            </a:avLst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solidFill>
              <a:srgbClr val="FF9900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400" b="1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0338" y="0"/>
            <a:ext cx="6265061" cy="76002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en-US" dirty="0" err="1" smtClean="0"/>
              <a:t>Biostimulation</a:t>
            </a:r>
            <a:r>
              <a:rPr lang="en-US" dirty="0" smtClean="0"/>
              <a:t> new natural solution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29836" y="5950407"/>
            <a:ext cx="6546267" cy="2462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1000" dirty="0">
                <a:solidFill>
                  <a:srgbClr val="080808"/>
                </a:solidFill>
                <a:latin typeface="Baskerville"/>
                <a:cs typeface="Baskerville"/>
              </a:rPr>
              <a:t>Source: EBIC, The European Biostimulants Industry consortium</a:t>
            </a:r>
            <a:endParaRPr lang="en-US" sz="1000" dirty="0">
              <a:solidFill>
                <a:srgbClr val="080808"/>
              </a:solidFill>
              <a:latin typeface="Baskerville"/>
              <a:cs typeface="Baskerville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343520" y="1523089"/>
            <a:ext cx="1866900" cy="190692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B05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CROP NUTRI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/>
            </a:r>
            <a:b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Fertilizer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Soil Amendment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Substrates</a:t>
            </a: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625601" y="1523088"/>
            <a:ext cx="2049475" cy="196124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AC145A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CROP PROTECTION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/>
            </a:r>
            <a:b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</a:b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Fungicid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Herbicid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Insecticid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PGR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askerville"/>
              <a:cs typeface="+mn-cs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3323987" y="986056"/>
            <a:ext cx="2307558" cy="222068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solidFill>
              <a:srgbClr val="FF99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CROP BIOSTIMUL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/>
            </a:r>
            <a:b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</a:br>
            <a:r>
              <a:rPr kumimoji="0" lang="en-US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e.g</a:t>
            </a:r>
            <a:r>
              <a:rPr lang="en-US" sz="1200" kern="0" dirty="0" smtClean="0">
                <a:solidFill>
                  <a:srgbClr val="000000"/>
                </a:solidFill>
                <a:latin typeface="Baskerville"/>
                <a:cs typeface="+mn-cs"/>
              </a:rPr>
              <a:t>.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skerville"/>
                <a:cs typeface="+mn-cs"/>
              </a:rPr>
              <a:t>Amino Acid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300237" y="3230495"/>
            <a:ext cx="2493818" cy="43938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400" b="1" kern="0" dirty="0">
                <a:solidFill>
                  <a:srgbClr val="000000"/>
                </a:solidFill>
                <a:latin typeface="Baskerville"/>
              </a:rPr>
              <a:t>Plant </a:t>
            </a:r>
            <a:r>
              <a:rPr lang="en-US" sz="1400" b="1" kern="0" dirty="0" err="1" smtClean="0">
                <a:solidFill>
                  <a:srgbClr val="000000"/>
                </a:solidFill>
                <a:latin typeface="Baskerville"/>
              </a:rPr>
              <a:t>biostimulant</a:t>
            </a:r>
            <a:r>
              <a:rPr lang="en-US" sz="1400" b="1" kern="0" dirty="0" smtClean="0">
                <a:solidFill>
                  <a:srgbClr val="000000"/>
                </a:solidFill>
                <a:latin typeface="Baskerville"/>
              </a:rPr>
              <a:t> contains </a:t>
            </a:r>
            <a:endParaRPr lang="en-US" sz="1400" b="1" kern="0" dirty="0">
              <a:solidFill>
                <a:srgbClr val="000000"/>
              </a:solidFill>
              <a:latin typeface="Baskerville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772665" y="3646132"/>
            <a:ext cx="7410202" cy="173339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askerville"/>
              </a:rPr>
              <a:t>Substances and/ or Micro-organism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Baskerville"/>
              </a:rPr>
              <a:t>It functions when applied to plant or </a:t>
            </a:r>
            <a:r>
              <a:rPr lang="en-US" dirty="0" err="1">
                <a:latin typeface="Baskerville"/>
              </a:rPr>
              <a:t>rhizosphere</a:t>
            </a:r>
            <a:endParaRPr lang="en-US" dirty="0">
              <a:latin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"/>
              </a:rPr>
              <a:t>It helps to </a:t>
            </a:r>
            <a:r>
              <a:rPr lang="en-US" dirty="0">
                <a:latin typeface="Baskerville"/>
              </a:rPr>
              <a:t>stimulate natural process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Baskerville"/>
              </a:rPr>
              <a:t>To benefit nutrient uptake and nutrient use </a:t>
            </a:r>
            <a:r>
              <a:rPr lang="en-US" dirty="0" smtClean="0">
                <a:latin typeface="Baskerville"/>
              </a:rPr>
              <a:t>efficiency </a:t>
            </a:r>
            <a:endParaRPr lang="en-US" dirty="0">
              <a:latin typeface="Baskerville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"/>
              </a:rPr>
              <a:t>To Tolerance </a:t>
            </a:r>
            <a:r>
              <a:rPr lang="en-US" dirty="0">
                <a:latin typeface="Baskerville"/>
              </a:rPr>
              <a:t>to abiotic </a:t>
            </a:r>
            <a:r>
              <a:rPr lang="en-US" dirty="0" smtClean="0">
                <a:latin typeface="Baskerville"/>
              </a:rPr>
              <a:t>stress</a:t>
            </a:r>
            <a:endParaRPr lang="en-US" dirty="0">
              <a:latin typeface="Baskerville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Baskerville"/>
              </a:rPr>
              <a:t>To improve crop </a:t>
            </a:r>
            <a:r>
              <a:rPr lang="en-US" dirty="0">
                <a:latin typeface="Baskerville"/>
              </a:rPr>
              <a:t>quality</a:t>
            </a:r>
          </a:p>
        </p:txBody>
      </p:sp>
    </p:spTree>
    <p:extLst>
      <p:ext uri="{BB962C8B-B14F-4D97-AF65-F5344CB8AC3E}">
        <p14:creationId xmlns:p14="http://schemas.microsoft.com/office/powerpoint/2010/main" val="679152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393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le 1"/>
          <p:cNvSpPr txBox="1">
            <a:spLocks/>
          </p:cNvSpPr>
          <p:nvPr/>
        </p:nvSpPr>
        <p:spPr>
          <a:xfrm>
            <a:off x="2624447" y="194254"/>
            <a:ext cx="6290952" cy="567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200" b="0" i="0" kern="1200" cap="all">
                <a:solidFill>
                  <a:srgbClr val="AC145A"/>
                </a:solidFill>
                <a:latin typeface="Bauer Bodoni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r>
              <a:rPr lang="en-US" dirty="0" err="1" smtClean="0"/>
              <a:t>Biostimulation</a:t>
            </a:r>
            <a:r>
              <a:rPr lang="en-US" dirty="0" smtClean="0"/>
              <a:t> save plant energy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43" y="804012"/>
            <a:ext cx="7646625" cy="44024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238" y="-130881"/>
            <a:ext cx="6220670" cy="609566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089" y="-67565"/>
            <a:ext cx="6223252" cy="6098194"/>
          </a:xfrm>
          <a:prstGeom prst="rect">
            <a:avLst/>
          </a:prstGeom>
        </p:spPr>
      </p:pic>
      <p:sp>
        <p:nvSpPr>
          <p:cNvPr id="16" name="Rounded Rectangle 15"/>
          <p:cNvSpPr/>
          <p:nvPr/>
        </p:nvSpPr>
        <p:spPr>
          <a:xfrm>
            <a:off x="458130" y="5267063"/>
            <a:ext cx="7839694" cy="736270"/>
          </a:xfrm>
          <a:prstGeom prst="roundRect">
            <a:avLst/>
          </a:prstGeom>
          <a:noFill/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err="1" smtClean="0">
                <a:solidFill>
                  <a:schemeClr val="tx1"/>
                </a:solidFill>
                <a:latin typeface="Baskerville"/>
                <a:cs typeface="Baskerville"/>
              </a:rPr>
              <a:t>Hicure</a:t>
            </a:r>
            <a:r>
              <a:rPr lang="en-US" sz="2000" dirty="0" smtClean="0">
                <a:solidFill>
                  <a:schemeClr val="tx1"/>
                </a:solidFill>
                <a:latin typeface="Baskerville"/>
                <a:cs typeface="Baskerville"/>
              </a:rPr>
              <a:t> gives the plants the amino acids and peptides they need already formed, saving biological energy</a:t>
            </a:r>
            <a:endParaRPr lang="en-US" sz="20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376430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094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latin typeface="Baskerville"/>
              <a:sym typeface="Baskervill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4447" y="194254"/>
            <a:ext cx="6290952" cy="56716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Your Highest concentrated product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1515940" y="1032493"/>
            <a:ext cx="5887695" cy="1080777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  <a:latin typeface="Baskerville"/>
              </a:rPr>
              <a:t>Composition: 62.5</a:t>
            </a:r>
            <a:r>
              <a:rPr lang="en-US" dirty="0">
                <a:solidFill>
                  <a:schemeClr val="tx1"/>
                </a:solidFill>
                <a:latin typeface="Baskerville"/>
              </a:rPr>
              <a:t>% w/w amino acids and </a:t>
            </a:r>
            <a:r>
              <a:rPr lang="en-US" dirty="0" smtClean="0">
                <a:solidFill>
                  <a:schemeClr val="tx1"/>
                </a:solidFill>
                <a:latin typeface="Baskerville"/>
              </a:rPr>
              <a:t>peptides</a:t>
            </a:r>
            <a:endParaRPr lang="en-US" dirty="0">
              <a:solidFill>
                <a:schemeClr val="tx1"/>
              </a:solidFill>
              <a:latin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>
                <a:solidFill>
                  <a:schemeClr val="tx1"/>
                </a:solidFill>
                <a:latin typeface="Baskerville"/>
              </a:rPr>
              <a:t>Formulation: Transparent </a:t>
            </a:r>
            <a:r>
              <a:rPr lang="de-CH" dirty="0">
                <a:solidFill>
                  <a:schemeClr val="tx1"/>
                </a:solidFill>
                <a:latin typeface="Baskerville"/>
              </a:rPr>
              <a:t>liquid (S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>
                <a:solidFill>
                  <a:schemeClr val="tx1"/>
                </a:solidFill>
                <a:latin typeface="Baskerville"/>
              </a:rPr>
              <a:t>Packaging: </a:t>
            </a:r>
            <a:r>
              <a:rPr lang="de-CH" dirty="0" smtClean="0">
                <a:solidFill>
                  <a:schemeClr val="tx1"/>
                </a:solidFill>
                <a:latin typeface="Baskerville"/>
              </a:rPr>
              <a:t>5 </a:t>
            </a:r>
            <a:r>
              <a:rPr lang="de-CH" dirty="0">
                <a:solidFill>
                  <a:schemeClr val="tx1"/>
                </a:solidFill>
                <a:latin typeface="Baskerville"/>
              </a:rPr>
              <a:t>liter S-Pac bottl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15940" y="3633848"/>
            <a:ext cx="884378" cy="2493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200" dirty="0" smtClean="0">
                <a:solidFill>
                  <a:schemeClr val="bg1"/>
                </a:solidFill>
                <a:latin typeface="Baskerville"/>
                <a:cs typeface="Baskerville"/>
              </a:rPr>
              <a:t>Peptides</a:t>
            </a:r>
            <a:endParaRPr lang="en-US" sz="1200" dirty="0" err="1" smtClean="0">
              <a:solidFill>
                <a:schemeClr val="bg1"/>
              </a:solidFill>
              <a:latin typeface="Baskerville"/>
              <a:cs typeface="Baskerville"/>
            </a:endParaRPr>
          </a:p>
        </p:txBody>
      </p:sp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33222221"/>
              </p:ext>
            </p:extLst>
          </p:nvPr>
        </p:nvGraphicFramePr>
        <p:xfrm>
          <a:off x="2895600" y="2476500"/>
          <a:ext cx="3067185" cy="30766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7" name="Chart" r:id="rId13" imgW="3067185" imgH="3076665" progId="MSGraph.Chart.8">
                  <p:embed followColorScheme="full"/>
                </p:oleObj>
              </mc:Choice>
              <mc:Fallback>
                <p:oleObj name="Chart" r:id="rId13" imgW="3067185" imgH="307666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895600" y="2476500"/>
                        <a:ext cx="3067185" cy="30766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ext Placeholder 18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849688" y="2355850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1pPr>
            <a:lvl2pPr marL="447675" indent="-2714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2pPr>
            <a:lvl3pPr marL="623888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3pPr>
            <a:lvl4pPr marL="801688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4pPr>
            <a:lvl5pPr marL="989013" indent="-187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F0F242F-A148-4690-9A17-3CAA3638AA99}" type="datetime'''''''''A''''sh''''''''''e''''''''''''''''''''''''s'''">
              <a:rPr lang="en-US" sz="1400">
                <a:sym typeface="Baskerville"/>
              </a:rPr>
              <a:pPr marL="0" indent="0" algn="r">
                <a:spcBef>
                  <a:spcPct val="0"/>
                </a:spcBef>
                <a:buNone/>
              </a:pPr>
              <a:t>Ashes</a:t>
            </a:fld>
            <a:endParaRPr lang="en-US" sz="1400" dirty="0">
              <a:sym typeface="Baskerville"/>
            </a:endParaRPr>
          </a:p>
        </p:txBody>
      </p:sp>
      <p:sp>
        <p:nvSpPr>
          <p:cNvPr id="25" name="Text Placeholder 9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907088" y="4021138"/>
            <a:ext cx="690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1pPr>
            <a:lvl2pPr marL="447675" indent="-2714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2pPr>
            <a:lvl3pPr marL="623888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3pPr>
            <a:lvl4pPr marL="801688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4pPr>
            <a:lvl5pPr marL="989013" indent="-187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EEF4A50-6D8B-4842-8171-BBE204A2EB9A}" type="datetime'''P''''e''p''t''i''d''''''''''''e''''''''''''''''''''s'''''">
              <a:rPr lang="en-US" sz="1400">
                <a:sym typeface="Baskerville"/>
              </a:rPr>
              <a:pPr/>
              <a:t>Peptides</a:t>
            </a:fld>
            <a:endParaRPr lang="en-US" sz="1400" dirty="0">
              <a:sym typeface="Baskerville"/>
            </a:endParaRPr>
          </a:p>
        </p:txBody>
      </p:sp>
      <p:sp>
        <p:nvSpPr>
          <p:cNvPr id="36" name="Text Placeholder 1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482850" y="5346700"/>
            <a:ext cx="138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1pPr>
            <a:lvl2pPr marL="447675" indent="-2714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2pPr>
            <a:lvl3pPr marL="623888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3pPr>
            <a:lvl4pPr marL="801688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4pPr>
            <a:lvl5pPr marL="989013" indent="-187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A6523CE-FDE3-453B-B049-CE85D633673D}" type="datetime'''''F''''''re''''''''''e'' ''Ami''n''''''''''o'' ''Ac''ids'''">
              <a:rPr lang="en-US" sz="1400">
                <a:sym typeface="Baskerville"/>
              </a:rPr>
              <a:pPr marL="0" indent="0" algn="r">
                <a:spcBef>
                  <a:spcPct val="0"/>
                </a:spcBef>
                <a:buNone/>
              </a:pPr>
              <a:t>Free Amino Acids</a:t>
            </a:fld>
            <a:endParaRPr lang="en-US" sz="1400" dirty="0">
              <a:sym typeface="Baskerville"/>
            </a:endParaRPr>
          </a:p>
        </p:txBody>
      </p:sp>
      <p:sp>
        <p:nvSpPr>
          <p:cNvPr id="37" name="Text Placeholder 20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522538" y="3516313"/>
            <a:ext cx="466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1pPr>
            <a:lvl2pPr marL="447675" indent="-2714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2pPr>
            <a:lvl3pPr marL="623888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3pPr>
            <a:lvl4pPr marL="801688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4pPr>
            <a:lvl5pPr marL="989013" indent="-187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E0E4141-2C77-4D57-9B60-AD60F85F7651}" type="datetime'''W''''a''''''t''''er'''''''''''''''''''">
              <a:rPr lang="en-US" sz="1400">
                <a:sym typeface="Baskerville"/>
              </a:rPr>
              <a:pPr marL="0" indent="0" algn="r">
                <a:spcBef>
                  <a:spcPct val="0"/>
                </a:spcBef>
                <a:buNone/>
              </a:pPr>
              <a:t>Water</a:t>
            </a:fld>
            <a:endParaRPr lang="en-US" sz="1400" dirty="0">
              <a:sym typeface="Baskerville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07794" y="3740725"/>
            <a:ext cx="769279" cy="2979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400" dirty="0" smtClean="0">
                <a:latin typeface="Baskerville"/>
                <a:cs typeface="Baskerville"/>
              </a:rPr>
              <a:t>34%</a:t>
            </a:r>
            <a:endParaRPr lang="en-US" sz="1400" dirty="0" err="1" smtClean="0">
              <a:latin typeface="Baskerville"/>
              <a:cs typeface="Baskerville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899386" y="2674938"/>
            <a:ext cx="769279" cy="2979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400" dirty="0">
                <a:latin typeface="Baskerville"/>
                <a:cs typeface="Baskerville"/>
              </a:rPr>
              <a:t>4</a:t>
            </a:r>
            <a:r>
              <a:rPr lang="de-CH" sz="1400" dirty="0" smtClean="0">
                <a:latin typeface="Baskerville"/>
                <a:cs typeface="Baskerville"/>
              </a:rPr>
              <a:t>%</a:t>
            </a:r>
            <a:endParaRPr lang="en-US" sz="1400" dirty="0" err="1" smtClean="0">
              <a:latin typeface="Baskerville"/>
              <a:cs typeface="Baskerville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726985" y="4560888"/>
            <a:ext cx="769279" cy="2979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400" dirty="0" smtClean="0">
                <a:solidFill>
                  <a:schemeClr val="bg1"/>
                </a:solidFill>
                <a:latin typeface="Baskerville"/>
                <a:cs typeface="Baskerville"/>
              </a:rPr>
              <a:t>10%</a:t>
            </a:r>
            <a:endParaRPr lang="en-US" sz="1400" dirty="0" err="1" smtClean="0">
              <a:solidFill>
                <a:schemeClr val="bg1"/>
              </a:solidFill>
              <a:latin typeface="Baskerville"/>
              <a:cs typeface="Baskerville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812176" y="4014788"/>
            <a:ext cx="769279" cy="2979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400" dirty="0" smtClean="0">
                <a:latin typeface="Baskerville"/>
                <a:cs typeface="Baskerville"/>
              </a:rPr>
              <a:t>52%</a:t>
            </a:r>
            <a:endParaRPr lang="en-US" sz="1400" dirty="0" err="1" smtClean="0">
              <a:latin typeface="Baskerville"/>
              <a:cs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373506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1276" y="1"/>
            <a:ext cx="6378084" cy="762000"/>
          </a:xfrm>
        </p:spPr>
        <p:txBody>
          <a:bodyPr/>
          <a:lstStyle/>
          <a:p>
            <a:r>
              <a:rPr lang="en-US" dirty="0" err="1"/>
              <a:t>a</a:t>
            </a:r>
            <a:r>
              <a:rPr lang="en-US" dirty="0" err="1" smtClean="0"/>
              <a:t>minozuren</a:t>
            </a:r>
            <a:r>
              <a:rPr lang="en-US" dirty="0" smtClean="0"/>
              <a:t> </a:t>
            </a:r>
            <a:r>
              <a:rPr lang="en-US" dirty="0" err="1" smtClean="0"/>
              <a:t>zijn</a:t>
            </a:r>
            <a:r>
              <a:rPr lang="en-US" dirty="0" smtClean="0"/>
              <a:t> de </a:t>
            </a:r>
            <a:r>
              <a:rPr lang="en-US" dirty="0" err="1" smtClean="0"/>
              <a:t>bouwstenen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</a:t>
            </a:r>
            <a:r>
              <a:rPr lang="en-US" dirty="0" err="1" smtClean="0"/>
              <a:t>prote</a:t>
            </a:r>
            <a:r>
              <a:rPr lang="en-US" dirty="0" err="1" smtClean="0">
                <a:latin typeface="Calibri"/>
                <a:cs typeface="Calibri"/>
              </a:rPr>
              <a:t>Ï</a:t>
            </a:r>
            <a:r>
              <a:rPr lang="en-US" dirty="0" err="1" smtClean="0"/>
              <a:t>nen</a:t>
            </a:r>
            <a:endParaRPr lang="en-US" dirty="0"/>
          </a:p>
        </p:txBody>
      </p:sp>
      <p:grpSp>
        <p:nvGrpSpPr>
          <p:cNvPr id="3" name="Group 18"/>
          <p:cNvGrpSpPr>
            <a:grpSpLocks/>
          </p:cNvGrpSpPr>
          <p:nvPr/>
        </p:nvGrpSpPr>
        <p:grpSpPr bwMode="auto">
          <a:xfrm>
            <a:off x="146585" y="1140598"/>
            <a:ext cx="8806961" cy="2032000"/>
            <a:chOff x="-55" y="2705"/>
            <a:chExt cx="6169" cy="1496"/>
          </a:xfrm>
        </p:grpSpPr>
        <p:sp>
          <p:nvSpPr>
            <p:cNvPr id="4" name="Text Box 19"/>
            <p:cNvSpPr txBox="1">
              <a:spLocks noChangeArrowheads="1"/>
            </p:cNvSpPr>
            <p:nvPr/>
          </p:nvSpPr>
          <p:spPr bwMode="auto">
            <a:xfrm>
              <a:off x="4844" y="2705"/>
              <a:ext cx="1134" cy="2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it-IT" sz="1600" dirty="0" smtClean="0"/>
                <a:t>Proteine</a:t>
              </a:r>
              <a:endParaRPr lang="it-IT" sz="1600" dirty="0"/>
            </a:p>
          </p:txBody>
        </p:sp>
        <p:sp>
          <p:nvSpPr>
            <p:cNvPr id="5" name="Text Box 20"/>
            <p:cNvSpPr txBox="1">
              <a:spLocks noChangeArrowheads="1"/>
            </p:cNvSpPr>
            <p:nvPr/>
          </p:nvSpPr>
          <p:spPr bwMode="auto">
            <a:xfrm>
              <a:off x="3301" y="2705"/>
              <a:ext cx="1134" cy="2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it-IT" sz="1600"/>
                <a:t>sub-unit</a:t>
              </a:r>
            </a:p>
          </p:txBody>
        </p:sp>
        <p:sp>
          <p:nvSpPr>
            <p:cNvPr id="6" name="Text Box 21"/>
            <p:cNvSpPr txBox="1">
              <a:spLocks noChangeArrowheads="1"/>
            </p:cNvSpPr>
            <p:nvPr/>
          </p:nvSpPr>
          <p:spPr bwMode="auto">
            <a:xfrm>
              <a:off x="1170" y="2705"/>
              <a:ext cx="1905" cy="2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it-IT" sz="1600" dirty="0" smtClean="0"/>
                <a:t>Peptide keten</a:t>
              </a:r>
              <a:endParaRPr lang="it-IT" sz="1600" dirty="0"/>
            </a:p>
          </p:txBody>
        </p:sp>
        <p:sp>
          <p:nvSpPr>
            <p:cNvPr id="7" name="Text Box 22"/>
            <p:cNvSpPr txBox="1">
              <a:spLocks noChangeArrowheads="1"/>
            </p:cNvSpPr>
            <p:nvPr/>
          </p:nvSpPr>
          <p:spPr bwMode="auto">
            <a:xfrm>
              <a:off x="-55" y="2705"/>
              <a:ext cx="1134" cy="2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it-IT" sz="1600" dirty="0" smtClean="0"/>
                <a:t>Aminozuur</a:t>
              </a:r>
              <a:endParaRPr lang="it-IT" sz="1600" dirty="0"/>
            </a:p>
          </p:txBody>
        </p:sp>
        <p:pic>
          <p:nvPicPr>
            <p:cNvPr id="8" name="Picture 23" descr="300px-AminoAcidball_svg bianco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" y="2939"/>
              <a:ext cx="816" cy="582"/>
            </a:xfrm>
            <a:prstGeom prst="rect">
              <a:avLst/>
            </a:prstGeom>
            <a:noFill/>
          </p:spPr>
        </p:pic>
        <p:sp>
          <p:nvSpPr>
            <p:cNvPr id="9" name="Line 24"/>
            <p:cNvSpPr>
              <a:spLocks noChangeShapeType="1"/>
            </p:cNvSpPr>
            <p:nvPr/>
          </p:nvSpPr>
          <p:spPr bwMode="auto">
            <a:xfrm>
              <a:off x="897" y="3385"/>
              <a:ext cx="317" cy="0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anchor="ctr"/>
            <a:lstStyle/>
            <a:p>
              <a:endParaRPr lang="en-US"/>
            </a:p>
          </p:txBody>
        </p:sp>
        <p:grpSp>
          <p:nvGrpSpPr>
            <p:cNvPr id="10" name="Group 25"/>
            <p:cNvGrpSpPr>
              <a:grpSpLocks/>
            </p:cNvGrpSpPr>
            <p:nvPr/>
          </p:nvGrpSpPr>
          <p:grpSpPr bwMode="auto">
            <a:xfrm>
              <a:off x="3348" y="2931"/>
              <a:ext cx="1178" cy="1225"/>
              <a:chOff x="3348" y="2931"/>
              <a:chExt cx="1178" cy="1225"/>
            </a:xfrm>
          </p:grpSpPr>
          <p:pic>
            <p:nvPicPr>
              <p:cNvPr id="21" name="Picture 26" descr="proteine stru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0122" r="57860"/>
              <a:stretch>
                <a:fillRect/>
              </a:stretch>
            </p:blipFill>
            <p:spPr bwMode="auto">
              <a:xfrm>
                <a:off x="3348" y="2931"/>
                <a:ext cx="1178" cy="1225"/>
              </a:xfrm>
              <a:prstGeom prst="rect">
                <a:avLst/>
              </a:prstGeom>
              <a:noFill/>
            </p:spPr>
          </p:pic>
          <p:sp>
            <p:nvSpPr>
              <p:cNvPr id="22" name="Rectangle 27"/>
              <p:cNvSpPr>
                <a:spLocks noChangeArrowheads="1"/>
              </p:cNvSpPr>
              <p:nvPr/>
            </p:nvSpPr>
            <p:spPr bwMode="auto">
              <a:xfrm>
                <a:off x="3619" y="3113"/>
                <a:ext cx="317" cy="9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3" name="Rectangle 28"/>
              <p:cNvSpPr>
                <a:spLocks noChangeArrowheads="1"/>
              </p:cNvSpPr>
              <p:nvPr/>
            </p:nvSpPr>
            <p:spPr bwMode="auto">
              <a:xfrm>
                <a:off x="3483" y="3929"/>
                <a:ext cx="680" cy="13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1" name="Group 29"/>
            <p:cNvGrpSpPr>
              <a:grpSpLocks/>
            </p:cNvGrpSpPr>
            <p:nvPr/>
          </p:nvGrpSpPr>
          <p:grpSpPr bwMode="auto">
            <a:xfrm>
              <a:off x="4435" y="2931"/>
              <a:ext cx="1679" cy="1227"/>
              <a:chOff x="4435" y="2931"/>
              <a:chExt cx="1679" cy="1227"/>
            </a:xfrm>
          </p:grpSpPr>
          <p:pic>
            <p:nvPicPr>
              <p:cNvPr id="19" name="Picture 30" descr="proteine stru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5522" t="69539"/>
              <a:stretch>
                <a:fillRect/>
              </a:stretch>
            </p:blipFill>
            <p:spPr bwMode="auto">
              <a:xfrm>
                <a:off x="4617" y="2931"/>
                <a:ext cx="1497" cy="1227"/>
              </a:xfrm>
              <a:prstGeom prst="rect">
                <a:avLst/>
              </a:prstGeom>
              <a:noFill/>
            </p:spPr>
          </p:pic>
          <p:sp>
            <p:nvSpPr>
              <p:cNvPr id="20" name="Rectangle 31"/>
              <p:cNvSpPr>
                <a:spLocks noChangeArrowheads="1"/>
              </p:cNvSpPr>
              <p:nvPr/>
            </p:nvSpPr>
            <p:spPr bwMode="auto">
              <a:xfrm>
                <a:off x="4435" y="3657"/>
                <a:ext cx="545" cy="18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12" name="Group 32"/>
            <p:cNvGrpSpPr>
              <a:grpSpLocks/>
            </p:cNvGrpSpPr>
            <p:nvPr/>
          </p:nvGrpSpPr>
          <p:grpSpPr bwMode="auto">
            <a:xfrm>
              <a:off x="1215" y="2931"/>
              <a:ext cx="2041" cy="1270"/>
              <a:chOff x="1215" y="2931"/>
              <a:chExt cx="2041" cy="1270"/>
            </a:xfrm>
          </p:grpSpPr>
          <p:pic>
            <p:nvPicPr>
              <p:cNvPr id="15" name="Picture 33" descr="proteine stru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58058"/>
              <a:stretch>
                <a:fillRect/>
              </a:stretch>
            </p:blipFill>
            <p:spPr bwMode="auto">
              <a:xfrm>
                <a:off x="1260" y="2931"/>
                <a:ext cx="1996" cy="1228"/>
              </a:xfrm>
              <a:prstGeom prst="rect">
                <a:avLst/>
              </a:prstGeom>
              <a:noFill/>
            </p:spPr>
          </p:pic>
          <p:sp>
            <p:nvSpPr>
              <p:cNvPr id="16" name="Rectangle 34"/>
              <p:cNvSpPr>
                <a:spLocks noChangeArrowheads="1"/>
              </p:cNvSpPr>
              <p:nvPr/>
            </p:nvSpPr>
            <p:spPr bwMode="auto">
              <a:xfrm>
                <a:off x="1215" y="4020"/>
                <a:ext cx="1134" cy="18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7" name="Rectangle 35"/>
              <p:cNvSpPr>
                <a:spLocks noChangeArrowheads="1"/>
              </p:cNvSpPr>
              <p:nvPr/>
            </p:nvSpPr>
            <p:spPr bwMode="auto">
              <a:xfrm>
                <a:off x="2893" y="2976"/>
                <a:ext cx="272" cy="182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8" name="Rectangle 36"/>
              <p:cNvSpPr>
                <a:spLocks noChangeArrowheads="1"/>
              </p:cNvSpPr>
              <p:nvPr/>
            </p:nvSpPr>
            <p:spPr bwMode="auto">
              <a:xfrm>
                <a:off x="1215" y="3067"/>
                <a:ext cx="317" cy="13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13" name="Line 37"/>
            <p:cNvSpPr>
              <a:spLocks noChangeShapeType="1"/>
            </p:cNvSpPr>
            <p:nvPr/>
          </p:nvSpPr>
          <p:spPr bwMode="auto">
            <a:xfrm>
              <a:off x="4436" y="3385"/>
              <a:ext cx="317" cy="0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4" name="Line 38"/>
            <p:cNvSpPr>
              <a:spLocks noChangeShapeType="1"/>
            </p:cNvSpPr>
            <p:nvPr/>
          </p:nvSpPr>
          <p:spPr bwMode="auto">
            <a:xfrm>
              <a:off x="3166" y="3385"/>
              <a:ext cx="317" cy="0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 anchor="ctr"/>
            <a:lstStyle/>
            <a:p>
              <a:endParaRPr lang="en-US"/>
            </a:p>
          </p:txBody>
        </p:sp>
      </p:grpSp>
      <p:sp>
        <p:nvSpPr>
          <p:cNvPr id="25" name="Content Placeholder 3"/>
          <p:cNvSpPr txBox="1">
            <a:spLocks/>
          </p:cNvSpPr>
          <p:nvPr/>
        </p:nvSpPr>
        <p:spPr>
          <a:xfrm>
            <a:off x="510577" y="3130091"/>
            <a:ext cx="8229600" cy="2905125"/>
          </a:xfrm>
          <a:prstGeom prst="rect">
            <a:avLst/>
          </a:prstGeom>
        </p:spPr>
        <p:txBody>
          <a:bodyPr/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1pPr>
            <a:lvl2pPr marL="447675" indent="-2714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2pPr>
            <a:lvl3pPr marL="623888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3pPr>
            <a:lvl4pPr marL="801688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4pPr>
            <a:lvl5pPr marL="989013" indent="-187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400" kern="1200">
                <a:solidFill>
                  <a:schemeClr val="tx1"/>
                </a:solidFill>
                <a:latin typeface="Baskerville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 err="1" smtClean="0"/>
              <a:t>Aminozuren</a:t>
            </a:r>
            <a:r>
              <a:rPr lang="en-US" dirty="0" smtClean="0"/>
              <a:t>:</a:t>
            </a:r>
          </a:p>
          <a:p>
            <a:pPr lvl="1"/>
            <a:r>
              <a:rPr lang="en-US" dirty="0" err="1" smtClean="0"/>
              <a:t>Zijn</a:t>
            </a:r>
            <a:r>
              <a:rPr lang="en-US" dirty="0" smtClean="0"/>
              <a:t> de </a:t>
            </a:r>
            <a:r>
              <a:rPr lang="en-US" dirty="0" err="1" smtClean="0"/>
              <a:t>bouwstoffen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</a:t>
            </a:r>
            <a:r>
              <a:rPr lang="en-US" dirty="0" err="1" smtClean="0"/>
              <a:t>alle</a:t>
            </a:r>
            <a:r>
              <a:rPr lang="en-US" dirty="0" smtClean="0"/>
              <a:t> </a:t>
            </a:r>
            <a:r>
              <a:rPr lang="en-US" dirty="0" err="1" smtClean="0"/>
              <a:t>eiwitten</a:t>
            </a:r>
            <a:r>
              <a:rPr lang="en-US" dirty="0" smtClean="0"/>
              <a:t>.</a:t>
            </a:r>
            <a:endParaRPr lang="en-US" dirty="0"/>
          </a:p>
          <a:p>
            <a:pPr lvl="1"/>
            <a:endParaRPr lang="en-US" dirty="0" smtClean="0"/>
          </a:p>
          <a:p>
            <a:pPr lvl="1"/>
            <a:r>
              <a:rPr lang="en-US" dirty="0" err="1" smtClean="0"/>
              <a:t>Zijn</a:t>
            </a:r>
            <a:r>
              <a:rPr lang="en-US" dirty="0" smtClean="0"/>
              <a:t> het </a:t>
            </a:r>
            <a:r>
              <a:rPr lang="en-US" dirty="0" err="1" smtClean="0"/>
              <a:t>startpunt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de </a:t>
            </a:r>
            <a:r>
              <a:rPr lang="en-US" dirty="0" err="1" smtClean="0"/>
              <a:t>synthese</a:t>
            </a:r>
            <a:r>
              <a:rPr lang="en-US" dirty="0" smtClean="0"/>
              <a:t> van </a:t>
            </a:r>
            <a:r>
              <a:rPr lang="en-US" dirty="0" err="1" smtClean="0"/>
              <a:t>o.a</a:t>
            </a:r>
            <a:r>
              <a:rPr lang="en-US" dirty="0" smtClean="0"/>
              <a:t>. </a:t>
            </a:r>
            <a:r>
              <a:rPr lang="en-US" dirty="0" err="1" smtClean="0"/>
              <a:t>vitaminen</a:t>
            </a:r>
            <a:r>
              <a:rPr lang="en-US" dirty="0" smtClean="0"/>
              <a:t>, </a:t>
            </a:r>
            <a:r>
              <a:rPr lang="en-US" dirty="0" err="1" smtClean="0"/>
              <a:t>nucleotiden</a:t>
            </a:r>
            <a:r>
              <a:rPr lang="en-US" dirty="0" smtClean="0"/>
              <a:t>, chlorophyll, </a:t>
            </a:r>
            <a:r>
              <a:rPr lang="en-US" dirty="0" err="1" smtClean="0"/>
              <a:t>enzymen</a:t>
            </a:r>
            <a:r>
              <a:rPr lang="en-US" dirty="0" smtClean="0"/>
              <a:t>, </a:t>
            </a:r>
            <a:r>
              <a:rPr lang="en-US" dirty="0" err="1" smtClean="0"/>
              <a:t>prote</a:t>
            </a:r>
            <a:r>
              <a:rPr lang="en-US" dirty="0" err="1" smtClean="0">
                <a:latin typeface="Calibri"/>
                <a:cs typeface="Calibri"/>
              </a:rPr>
              <a:t>ï</a:t>
            </a:r>
            <a:r>
              <a:rPr lang="en-US" dirty="0" err="1" smtClean="0"/>
              <a:t>nen</a:t>
            </a:r>
            <a:r>
              <a:rPr lang="en-US" dirty="0"/>
              <a:t>,</a:t>
            </a:r>
            <a:r>
              <a:rPr lang="en-US" dirty="0" smtClean="0"/>
              <a:t> etc..</a:t>
            </a:r>
          </a:p>
          <a:p>
            <a:pPr lvl="1"/>
            <a:endParaRPr lang="en-US" dirty="0" smtClean="0"/>
          </a:p>
          <a:p>
            <a:pPr lvl="1"/>
            <a:r>
              <a:rPr lang="en-US" dirty="0" err="1" smtClean="0"/>
              <a:t>Vervullen</a:t>
            </a:r>
            <a:r>
              <a:rPr lang="en-US" dirty="0" smtClean="0"/>
              <a:t> </a:t>
            </a:r>
            <a:r>
              <a:rPr lang="en-US" dirty="0" err="1" smtClean="0"/>
              <a:t>een</a:t>
            </a:r>
            <a:r>
              <a:rPr lang="en-US" dirty="0" smtClean="0"/>
              <a:t> </a:t>
            </a:r>
            <a:r>
              <a:rPr lang="en-US" dirty="0" err="1" smtClean="0"/>
              <a:t>belangrijke</a:t>
            </a:r>
            <a:r>
              <a:rPr lang="en-US" dirty="0" smtClean="0"/>
              <a:t> </a:t>
            </a:r>
            <a:r>
              <a:rPr lang="en-US" dirty="0" err="1" smtClean="0"/>
              <a:t>voedende</a:t>
            </a:r>
            <a:r>
              <a:rPr lang="en-US" dirty="0" smtClean="0"/>
              <a:t> </a:t>
            </a:r>
            <a:r>
              <a:rPr lang="en-US" dirty="0" err="1" smtClean="0"/>
              <a:t>functie</a:t>
            </a:r>
            <a:r>
              <a:rPr lang="en-US" dirty="0" smtClean="0"/>
              <a:t> </a:t>
            </a:r>
            <a:r>
              <a:rPr lang="en-US" dirty="0" err="1" smtClean="0"/>
              <a:t>tijdens</a:t>
            </a:r>
            <a:r>
              <a:rPr lang="en-US" dirty="0"/>
              <a:t> </a:t>
            </a:r>
            <a:r>
              <a:rPr lang="en-US" dirty="0" err="1" smtClean="0"/>
              <a:t>o.a</a:t>
            </a:r>
            <a:r>
              <a:rPr lang="en-US" dirty="0" smtClean="0"/>
              <a:t>. </a:t>
            </a:r>
            <a:r>
              <a:rPr lang="en-US" dirty="0" err="1" smtClean="0"/>
              <a:t>zaadkieming</a:t>
            </a:r>
            <a:r>
              <a:rPr lang="en-US" dirty="0" smtClean="0"/>
              <a:t>, </a:t>
            </a:r>
            <a:r>
              <a:rPr lang="en-US" dirty="0" err="1" smtClean="0"/>
              <a:t>eiwitsynthese</a:t>
            </a:r>
            <a:r>
              <a:rPr lang="en-US" dirty="0" smtClean="0"/>
              <a:t> en de </a:t>
            </a:r>
            <a:r>
              <a:rPr lang="en-US" dirty="0" err="1" smtClean="0"/>
              <a:t>vorming</a:t>
            </a:r>
            <a:r>
              <a:rPr lang="en-US" dirty="0" smtClean="0"/>
              <a:t> van </a:t>
            </a:r>
            <a:r>
              <a:rPr lang="en-US" dirty="0" err="1" smtClean="0"/>
              <a:t>phytohormonen</a:t>
            </a:r>
            <a:r>
              <a:rPr lang="en-US" dirty="0" smtClean="0"/>
              <a:t>.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100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644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>
              <a:latin typeface="Baskerville"/>
              <a:sym typeface="Baskerville"/>
            </a:endParaRPr>
          </a:p>
        </p:txBody>
      </p:sp>
      <p:sp>
        <p:nvSpPr>
          <p:cNvPr id="354307" name="Rectangle 3"/>
          <p:cNvSpPr>
            <a:spLocks noChangeArrowheads="1"/>
          </p:cNvSpPr>
          <p:nvPr/>
        </p:nvSpPr>
        <p:spPr bwMode="auto">
          <a:xfrm>
            <a:off x="0" y="1881759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en-US" dirty="0"/>
              <a:t>High content of Free amino acid and short chain peptides </a:t>
            </a:r>
          </a:p>
        </p:txBody>
      </p:sp>
      <p:graphicFrame>
        <p:nvGraphicFramePr>
          <p:cNvPr id="430" name="Chart 4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6474417"/>
              </p:ext>
            </p:extLst>
          </p:nvPr>
        </p:nvGraphicFramePr>
        <p:xfrm>
          <a:off x="322039" y="1066421"/>
          <a:ext cx="4107456" cy="28816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31" name="Rounded Rectangle 430"/>
          <p:cNvSpPr/>
          <p:nvPr/>
        </p:nvSpPr>
        <p:spPr>
          <a:xfrm>
            <a:off x="758041" y="4940135"/>
            <a:ext cx="7839694" cy="736270"/>
          </a:xfrm>
          <a:prstGeom prst="roundRect">
            <a:avLst/>
          </a:prstGeom>
          <a:noFill/>
          <a:ln>
            <a:solidFill>
              <a:srgbClr val="AC14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Baskerville"/>
                <a:cs typeface="Baskerville"/>
              </a:rPr>
              <a:t>Easy uptake </a:t>
            </a:r>
            <a:r>
              <a:rPr lang="en-US" sz="1600" dirty="0">
                <a:solidFill>
                  <a:schemeClr val="tx1"/>
                </a:solidFill>
                <a:latin typeface="Baskerville"/>
                <a:cs typeface="Baskerville"/>
              </a:rPr>
              <a:t>by </a:t>
            </a:r>
            <a:r>
              <a:rPr lang="en-US" sz="1600" dirty="0" smtClean="0">
                <a:solidFill>
                  <a:schemeClr val="tx1"/>
                </a:solidFill>
                <a:latin typeface="Baskerville"/>
                <a:cs typeface="Baskerville"/>
              </a:rPr>
              <a:t>leaves </a:t>
            </a:r>
            <a:r>
              <a:rPr lang="en-US" sz="1600" dirty="0">
                <a:solidFill>
                  <a:schemeClr val="tx1"/>
                </a:solidFill>
                <a:latin typeface="Baskerville"/>
                <a:cs typeface="Baskerville"/>
              </a:rPr>
              <a:t>and </a:t>
            </a:r>
            <a:r>
              <a:rPr lang="en-US" sz="1600" dirty="0" smtClean="0">
                <a:solidFill>
                  <a:schemeClr val="tx1"/>
                </a:solidFill>
                <a:latin typeface="Baskerville"/>
                <a:cs typeface="Baskerville"/>
              </a:rPr>
              <a:t>roots</a:t>
            </a:r>
            <a:endParaRPr lang="en-US" sz="1600" dirty="0">
              <a:solidFill>
                <a:schemeClr val="tx1"/>
              </a:solidFill>
              <a:latin typeface="Baskerville"/>
              <a:cs typeface="Baskervill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Baskerville"/>
                <a:cs typeface="Baskerville"/>
              </a:rPr>
              <a:t>Minimal use of  energy for proteins synthetizing</a:t>
            </a:r>
            <a:endParaRPr lang="en-US" sz="1600" dirty="0">
              <a:solidFill>
                <a:schemeClr val="tx1"/>
              </a:solidFill>
              <a:latin typeface="Baskerville"/>
              <a:cs typeface="Baskerville"/>
            </a:endParaRPr>
          </a:p>
        </p:txBody>
      </p:sp>
      <p:sp>
        <p:nvSpPr>
          <p:cNvPr id="9" name="Isosceles Triangle 8"/>
          <p:cNvSpPr/>
          <p:nvPr/>
        </p:nvSpPr>
        <p:spPr>
          <a:xfrm rot="10800000">
            <a:off x="2626192" y="4319539"/>
            <a:ext cx="4034117" cy="301923"/>
          </a:xfrm>
          <a:prstGeom prst="triangl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8497307"/>
              </p:ext>
            </p:extLst>
          </p:nvPr>
        </p:nvGraphicFramePr>
        <p:xfrm>
          <a:off x="4591213" y="778219"/>
          <a:ext cx="4392469" cy="3443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940134" y="831273"/>
            <a:ext cx="285008" cy="225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200" dirty="0" smtClean="0">
                <a:latin typeface="Baskerville"/>
                <a:cs typeface="Baskerville"/>
              </a:rPr>
              <a:t>%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3033" y="942109"/>
            <a:ext cx="285008" cy="2256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CH" sz="1200" dirty="0" smtClean="0">
                <a:latin typeface="Baskerville"/>
                <a:cs typeface="Baskerville"/>
              </a:rPr>
              <a:t>%</a:t>
            </a:r>
            <a:endParaRPr lang="en-US" sz="1200" dirty="0" err="1" smtClean="0">
              <a:latin typeface="Baskerville"/>
              <a:cs typeface="Baskerville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52333" y="3937298"/>
            <a:ext cx="2581835" cy="2474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400" dirty="0">
                <a:latin typeface="Baskerville"/>
              </a:rPr>
              <a:t>Molecular weight (</a:t>
            </a:r>
            <a:r>
              <a:rPr lang="en-US" sz="1400" dirty="0" err="1">
                <a:latin typeface="Baskerville"/>
              </a:rPr>
              <a:t>dalton</a:t>
            </a:r>
            <a:r>
              <a:rPr lang="en-US" sz="1400" dirty="0">
                <a:latin typeface="Baskerville"/>
              </a:rPr>
              <a:t>)</a:t>
            </a:r>
          </a:p>
          <a:p>
            <a:pPr algn="ctr"/>
            <a:endParaRPr lang="en-US" sz="1400" dirty="0" err="1" smtClean="0">
              <a:latin typeface="Baskerville"/>
              <a:cs typeface="Baskerville"/>
            </a:endParaRPr>
          </a:p>
        </p:txBody>
      </p:sp>
    </p:spTree>
    <p:extLst>
      <p:ext uri="{BB962C8B-B14F-4D97-AF65-F5344CB8AC3E}">
        <p14:creationId xmlns:p14="http://schemas.microsoft.com/office/powerpoint/2010/main" val="63724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'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'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3&quot;&gt;&lt;elem m_fUsage=&quot;2.34144100000000010000E+000&quot;&gt;&lt;m_msothmcolidx val=&quot;0&quot;/&gt;&lt;m_rgb r=&quot;ac&quot; g=&quot;14&quot; b=&quot;5a&quot;/&gt;&lt;m_ppcolschidx tagver0=&quot;23004&quot; tagname0=&quot;m_ppcolschidxUNRECOGNIZED&quot; val=&quot;0&quot;/&gt;&lt;m_nBrightness val=&quot;0&quot;/&gt;&lt;/elem&gt;&lt;elem m_fUsage=&quot;1.96878690000000050000E+000&quot;&gt;&lt;m_msothmcolidx val=&quot;0&quot;/&gt;&lt;m_rgb r=&quot;f2&quot; g=&quot;a9&quot; b=&quot;0&quot;/&gt;&lt;m_ppcolschidx tagver0=&quot;23004&quot; tagname0=&quot;m_ppcolschidxUNRECOGNIZED&quot; val=&quot;0&quot;/&gt;&lt;m_nBrightness val=&quot;0&quot;/&gt;&lt;/elem&gt;&lt;elem m_fUsage=&quot;1.38510000000000000000E+000&quot;&gt;&lt;m_msothmcolidx val=&quot;0&quot;/&gt;&lt;m_rgb r=&quot;fa&quot; g=&quot;e6&quot; b=&quot;5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xD5WvrKE6UK_PHNpg_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93yeTwkEa24ZePJOee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iK0pcDP0CY2OOh86Vq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tzqGTfY0Wv_G6xWf6h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HFXE9GPEevfkfNzDpG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_PzOxcC0yn9oCvFhak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ZL7KPM_UO16v1KdRsN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qbZXehL0qMgc99adtl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xD5WvrKE6UK_PHNpg_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PjSAcEyEqGQLF92SUa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UN3Usfo06M0tle9H_I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Kh6wrXkUuuy1U0oxxj.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4pL1OU5km9w9xITtC3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5KyvCRkE6VNuj.JdSX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q0IyVwS0KeHOI9qIcz0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msMqYabE6wFHZdynKE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X4ZK27LU2a5OZhuCZb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jmXRHuaEO7De0nC84X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liance Primary template Lscape">
  <a:themeElements>
    <a:clrScheme name="Custom 5">
      <a:dk1>
        <a:srgbClr val="2D2926"/>
      </a:dk1>
      <a:lt1>
        <a:sysClr val="window" lastClr="FFFFFF"/>
      </a:lt1>
      <a:dk2>
        <a:srgbClr val="3C1053"/>
      </a:dk2>
      <a:lt2>
        <a:srgbClr val="F2A900"/>
      </a:lt2>
      <a:accent1>
        <a:srgbClr val="F2A900"/>
      </a:accent1>
      <a:accent2>
        <a:srgbClr val="DC4405"/>
      </a:accent2>
      <a:accent3>
        <a:srgbClr val="AC145A"/>
      </a:accent3>
      <a:accent4>
        <a:srgbClr val="772583"/>
      </a:accent4>
      <a:accent5>
        <a:srgbClr val="0072CE"/>
      </a:accent5>
      <a:accent6>
        <a:srgbClr val="00843D"/>
      </a:accent6>
      <a:hlink>
        <a:srgbClr val="201747"/>
      </a:hlink>
      <a:folHlink>
        <a:srgbClr val="633231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635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err="1" smtClean="0">
            <a:latin typeface="Baskerville"/>
            <a:cs typeface="Baskerville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C27F5AEC9DA4459616A3E51B07D6A7" ma:contentTypeVersion="0" ma:contentTypeDescription="Create a new document." ma:contentTypeScope="" ma:versionID="980484250c568971247ba4da3171c27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AF50EA-518E-48F6-8495-94319F5FC9BB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8204BF9-C72E-4432-A600-ACE23F52A7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BE944A1-6D59-4F5B-B382-BCEEB107FEF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779</TotalTime>
  <Words>1958</Words>
  <Application>Microsoft Office PowerPoint</Application>
  <PresentationFormat>On-screen Show (4:3)</PresentationFormat>
  <Paragraphs>431</Paragraphs>
  <Slides>26</Slides>
  <Notes>11</Notes>
  <HiddenSlides>6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Arial</vt:lpstr>
      <vt:lpstr>Arial Narrow</vt:lpstr>
      <vt:lpstr>Baskerville</vt:lpstr>
      <vt:lpstr>Bauer Bodoni</vt:lpstr>
      <vt:lpstr>Calibri</vt:lpstr>
      <vt:lpstr>Times New Roman</vt:lpstr>
      <vt:lpstr>Wingdings</vt:lpstr>
      <vt:lpstr>Alliance Primary template Lscape</vt:lpstr>
      <vt:lpstr>Custom Design</vt:lpstr>
      <vt:lpstr>think-cell Slide</vt:lpstr>
      <vt:lpstr>Chart</vt:lpstr>
      <vt:lpstr>Hicure</vt:lpstr>
      <vt:lpstr>Current European situation forces market changes</vt:lpstr>
      <vt:lpstr>Our belief in a sustainable world</vt:lpstr>
      <vt:lpstr>Value of hicure</vt:lpstr>
      <vt:lpstr>Biostimulation new natural solution</vt:lpstr>
      <vt:lpstr>PowerPoint Presentation</vt:lpstr>
      <vt:lpstr>Your Highest concentrated product</vt:lpstr>
      <vt:lpstr>aminozuren zijn de bouwstenen voor proteÏnen</vt:lpstr>
      <vt:lpstr>High content of Free amino acid and short chain peptides </vt:lpstr>
      <vt:lpstr>functies van aminozuren in planten</vt:lpstr>
      <vt:lpstr>Your advantages / benefits with hicure</vt:lpstr>
      <vt:lpstr>improvement quality &amp; shelf life of your cutflowers </vt:lpstr>
      <vt:lpstr>Hicure improves Robustness &amp; shelf life of your cutflowers</vt:lpstr>
      <vt:lpstr>Use &amp; recommendations In cutflowers</vt:lpstr>
      <vt:lpstr> improves consumer garden performance in Pot  &amp; Bedding</vt:lpstr>
      <vt:lpstr>Hicure in vaste planten</vt:lpstr>
      <vt:lpstr>Hicure make your plants stronger </vt:lpstr>
      <vt:lpstr>Meeldauwbestrijding roos  - Red Naomi -</vt:lpstr>
      <vt:lpstr>Use and recommendations in Pot &amp; bedding plants</vt:lpstr>
      <vt:lpstr>Houdbaarheid Helleborus orientalis (snij)</vt:lpstr>
      <vt:lpstr>Further information </vt:lpstr>
      <vt:lpstr>Q&amp;A </vt:lpstr>
      <vt:lpstr>Q&amp;A </vt:lpstr>
      <vt:lpstr>Amino acids play a key role in your crop development</vt:lpstr>
      <vt:lpstr>use and recommandation</vt:lpstr>
      <vt:lpstr>Your Highest concentrated product</vt:lpstr>
    </vt:vector>
  </TitlesOfParts>
  <Company>Syngent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Andy Pigott</dc:creator>
  <cp:lastModifiedBy>Tveter Lars NORO</cp:lastModifiedBy>
  <cp:revision>252</cp:revision>
  <cp:lastPrinted>2014-12-16T15:10:21Z</cp:lastPrinted>
  <dcterms:created xsi:type="dcterms:W3CDTF">2009-08-26T13:45:09Z</dcterms:created>
  <dcterms:modified xsi:type="dcterms:W3CDTF">2019-11-22T11:4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C27F5AEC9DA4459616A3E51B07D6A7</vt:lpwstr>
  </property>
</Properties>
</file>